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58" r:id="rId4"/>
  </p:sldMasterIdLst>
  <p:notesMasterIdLst>
    <p:notesMasterId r:id="rId9"/>
  </p:notesMasterIdLst>
  <p:handoutMasterIdLst>
    <p:handoutMasterId r:id="rId10"/>
  </p:handoutMasterIdLst>
  <p:sldIdLst>
    <p:sldId id="787" r:id="rId5"/>
    <p:sldId id="783" r:id="rId6"/>
    <p:sldId id="784" r:id="rId7"/>
    <p:sldId id="788" r:id="rId8"/>
  </p:sldIdLst>
  <p:sldSz cx="9144000" cy="6858000" type="screen4x3"/>
  <p:notesSz cx="7099300" cy="10234613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rketingslides Midcaps#" id="{3432C18C-2992-4944-A3EE-78067EA10013}">
          <p14:sldIdLst>
            <p14:sldId id="787"/>
            <p14:sldId id="783"/>
            <p14:sldId id="784"/>
            <p14:sldId id="78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64" autoAdjust="0"/>
    <p:restoredTop sz="93419" autoAdjust="0"/>
  </p:normalViewPr>
  <p:slideViewPr>
    <p:cSldViewPr showGuides="1">
      <p:cViewPr varScale="1">
        <p:scale>
          <a:sx n="66" d="100"/>
          <a:sy n="66" d="100"/>
        </p:scale>
        <p:origin x="1408" y="48"/>
      </p:cViewPr>
      <p:guideLst/>
    </p:cSldViewPr>
  </p:slideViewPr>
  <p:outlineViewPr>
    <p:cViewPr>
      <p:scale>
        <a:sx n="33" d="100"/>
        <a:sy n="33" d="100"/>
      </p:scale>
      <p:origin x="0" y="-312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84" d="100"/>
          <a:sy n="84" d="100"/>
        </p:scale>
        <p:origin x="3776" y="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3.fntdata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font" Target="fonts/font2.fntdata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1.fntdata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handoutMaster" Target="handoutMasters/handoutMaster1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Kopfzeilenplatzhalter 1">
            <a:extLst>
              <a:ext uri="{FF2B5EF4-FFF2-40B4-BE49-F238E27FC236}">
                <a16:creationId xmlns:a16="http://schemas.microsoft.com/office/drawing/2014/main" id="{2152B573-4D23-42F9-9594-7E28A899FBC4}"/>
              </a:ext>
            </a:extLst>
          </p:cNvPr>
          <p:cNvSpPr>
            <a:spLocks noGrp="1"/>
          </p:cNvSpPr>
          <p:nvPr>
            <p:ph type="hdr" sz="quarter"/>
          </p:nvPr>
        </p:nvSpPr>
        <p:spPr bwMode="gray">
          <a:xfrm>
            <a:off x="479425" y="404813"/>
            <a:ext cx="6192837" cy="360000"/>
          </a:xfrm>
          <a:prstGeom prst="rect">
            <a:avLst/>
          </a:prstGeom>
        </p:spPr>
        <p:txBody>
          <a:bodyPr vert="horz" lIns="0" tIns="0" rIns="0" bIns="0" rtlCol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ußzeilenplatzhalter 5">
            <a:extLst>
              <a:ext uri="{FF2B5EF4-FFF2-40B4-BE49-F238E27FC236}">
                <a16:creationId xmlns:a16="http://schemas.microsoft.com/office/drawing/2014/main" id="{8977071B-7B8F-40E6-8177-6A02792791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gray">
          <a:xfrm>
            <a:off x="1353406" y="9466736"/>
            <a:ext cx="4644516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8D4DD49B-6207-490E-8624-F1F846762FF3}"/>
              </a:ext>
            </a:extLst>
          </p:cNvPr>
          <p:cNvSpPr>
            <a:spLocks noGrp="1"/>
          </p:cNvSpPr>
          <p:nvPr>
            <p:ph type="dt" idx="1"/>
          </p:nvPr>
        </p:nvSpPr>
        <p:spPr bwMode="gray">
          <a:xfrm>
            <a:off x="479425" y="9466736"/>
            <a:ext cx="873981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7E224FBA-D61A-4FF3-9C36-AB82045F849F}" type="datetimeFigureOut">
              <a:rPr lang="de-DE" smtClean="0"/>
              <a:pPr/>
              <a:t>21.10.2023</a:t>
            </a:fld>
            <a:endParaRPr lang="de-DE"/>
          </a:p>
        </p:txBody>
      </p:sp>
      <p:sp>
        <p:nvSpPr>
          <p:cNvPr id="13" name="Foliennummernplatzhalter 6">
            <a:extLst>
              <a:ext uri="{FF2B5EF4-FFF2-40B4-BE49-F238E27FC236}">
                <a16:creationId xmlns:a16="http://schemas.microsoft.com/office/drawing/2014/main" id="{2376DB80-3DDE-4570-85BE-D2B5565BB0E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gray">
          <a:xfrm>
            <a:off x="5997922" y="9466736"/>
            <a:ext cx="674341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3AA5C58-95B0-47FE-A224-91D2DA26BDB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51061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453232" y="9874613"/>
            <a:ext cx="619283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53650" y="225921"/>
            <a:ext cx="6192000" cy="4642942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53650" y="5265738"/>
            <a:ext cx="6192000" cy="4200998"/>
          </a:xfrm>
          <a:prstGeom prst="rect">
            <a:avLst/>
          </a:prstGeom>
        </p:spPr>
        <p:txBody>
          <a:bodyPr vert="horz" lIns="0" tIns="0" rIns="72000" bIns="0" rtlCol="0">
            <a:normAutofit/>
          </a:bodyPr>
          <a:lstStyle/>
          <a:p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137382" y="9466736"/>
            <a:ext cx="4824536" cy="360000"/>
          </a:xfrm>
          <a:prstGeom prst="rect">
            <a:avLst/>
          </a:prstGeom>
        </p:spPr>
        <p:txBody>
          <a:bodyPr vert="horz" wrap="square" lIns="0" tIns="0" rIns="0" bIns="0" rtlCol="0" anchor="b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1" name="Datumsplatzhalter 2">
            <a:extLst>
              <a:ext uri="{FF2B5EF4-FFF2-40B4-BE49-F238E27FC236}">
                <a16:creationId xmlns:a16="http://schemas.microsoft.com/office/drawing/2014/main" id="{774D8962-8EE3-43A9-AE86-223300E16685}"/>
              </a:ext>
            </a:extLst>
          </p:cNvPr>
          <p:cNvSpPr>
            <a:spLocks noGrp="1"/>
          </p:cNvSpPr>
          <p:nvPr>
            <p:ph type="dt" idx="1"/>
          </p:nvPr>
        </p:nvSpPr>
        <p:spPr bwMode="gray">
          <a:xfrm>
            <a:off x="453650" y="9466736"/>
            <a:ext cx="657956" cy="3600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7E224FBA-D61A-4FF3-9C36-AB82045F849F}" type="datetimeFigureOut">
              <a:rPr lang="de-DE" smtClean="0"/>
              <a:pPr/>
              <a:t>21.10.2023</a:t>
            </a:fld>
            <a:endParaRPr lang="de-DE"/>
          </a:p>
        </p:txBody>
      </p:sp>
      <p:sp>
        <p:nvSpPr>
          <p:cNvPr id="32" name="Foliennummernplatzhalter 6">
            <a:extLst>
              <a:ext uri="{FF2B5EF4-FFF2-40B4-BE49-F238E27FC236}">
                <a16:creationId xmlns:a16="http://schemas.microsoft.com/office/drawing/2014/main" id="{1729D240-59A6-43FB-9C19-4A8C144A64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gray">
          <a:xfrm>
            <a:off x="5935305" y="9466736"/>
            <a:ext cx="710345" cy="3600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3AA5C58-95B0-47FE-A224-91D2DA26BDB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02603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110000"/>
      </a:lnSpc>
      <a:spcBef>
        <a:spcPts val="6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110000"/>
      </a:lnSpc>
      <a:spcBef>
        <a:spcPts val="600"/>
      </a:spcBef>
      <a:buClr>
        <a:schemeClr val="accent2"/>
      </a:buClr>
      <a:buFont typeface="Arial" panose="020B0604020202020204" pitchFamily="34" charset="0"/>
      <a:buChar char="●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110000"/>
      </a:lnSpc>
      <a:spcBef>
        <a:spcPts val="600"/>
      </a:spcBef>
      <a:buClr>
        <a:schemeClr val="accent2"/>
      </a:buClr>
      <a:buFont typeface="Arial" panose="020B0604020202020204" pitchFamily="34" charset="0"/>
      <a:buChar char="●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80000" indent="-180000" algn="l" defTabSz="914400" rtl="0" eaLnBrk="1" latinLnBrk="0" hangingPunct="1">
      <a:lnSpc>
        <a:spcPct val="110000"/>
      </a:lnSpc>
      <a:spcBef>
        <a:spcPts val="600"/>
      </a:spcBef>
      <a:buFont typeface="+mj-lt"/>
      <a:buAutoNum type="arabicPeriod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lnSpc>
        <a:spcPct val="110000"/>
      </a:lnSpc>
      <a:spcBef>
        <a:spcPts val="600"/>
      </a:spcBef>
      <a:buFont typeface="+mj-lt"/>
      <a:buAutoNum type="alphaLcPeriod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14400" rtl="0" eaLnBrk="1" latinLnBrk="0" hangingPunct="1">
      <a:lnSpc>
        <a:spcPct val="110000"/>
      </a:lnSpc>
      <a:spcBef>
        <a:spcPts val="600"/>
      </a:spcBef>
      <a:spcAft>
        <a:spcPts val="0"/>
      </a:spcAft>
      <a:defRPr sz="1400" b="1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914400" rtl="0" eaLnBrk="1" latinLnBrk="0" hangingPunct="1">
      <a:lnSpc>
        <a:spcPct val="110000"/>
      </a:lnSpc>
      <a:spcBef>
        <a:spcPts val="600"/>
      </a:spcBef>
      <a:defRPr sz="800" kern="1200">
        <a:solidFill>
          <a:schemeClr val="bg2"/>
        </a:solidFill>
        <a:latin typeface="+mn-lt"/>
        <a:ea typeface="+mn-ea"/>
        <a:cs typeface="+mn-cs"/>
      </a:defRPr>
    </a:lvl7pPr>
    <a:lvl8pPr marL="0" indent="0" algn="l" defTabSz="914400" rtl="0" eaLnBrk="1" latinLnBrk="0" hangingPunct="1">
      <a:lnSpc>
        <a:spcPct val="110000"/>
      </a:lnSpc>
      <a:spcBef>
        <a:spcPts val="600"/>
      </a:spcBef>
      <a:defRPr sz="800" kern="1200">
        <a:solidFill>
          <a:schemeClr val="bg2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lnSpc>
        <a:spcPct val="110000"/>
      </a:lnSpc>
      <a:spcBef>
        <a:spcPts val="600"/>
      </a:spcBef>
      <a:defRPr sz="800" kern="1200">
        <a:solidFill>
          <a:schemeClr val="bg2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279" userDrawn="1">
          <p15:clr>
            <a:srgbClr val="A4A3A4"/>
          </p15:clr>
        </p15:guide>
        <p15:guide id="2" pos="4180" userDrawn="1">
          <p15:clr>
            <a:srgbClr val="A4A3A4"/>
          </p15:clr>
        </p15:guide>
        <p15:guide id="3" orient="horz" pos="3317" userDrawn="1">
          <p15:clr>
            <a:srgbClr val="A4A3A4"/>
          </p15:clr>
        </p15:guide>
        <p15:guide id="6" orient="horz" pos="142" userDrawn="1">
          <p15:clr>
            <a:srgbClr val="A4A3A4"/>
          </p15:clr>
        </p15:guide>
        <p15:guide id="7" orient="horz" pos="3067" userDrawn="1">
          <p15:clr>
            <a:srgbClr val="A4A3A4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54025" y="225425"/>
            <a:ext cx="6191250" cy="4643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A5C58-95B0-47FE-A224-91D2DA26BDB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7312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411288"/>
            <a:ext cx="8496301" cy="3313112"/>
          </a:xfrm>
        </p:spPr>
        <p:txBody>
          <a:bodyPr rIns="0" bIns="144000" anchor="b"/>
          <a:lstStyle>
            <a:lvl1pPr algn="ctr">
              <a:defRPr sz="6600"/>
            </a:lvl1pPr>
          </a:lstStyle>
          <a:p>
            <a:r>
              <a:rPr lang="de-DE" noProof="0" dirty="0"/>
              <a:t>Titel der </a:t>
            </a:r>
            <a:br>
              <a:rPr lang="de-DE" noProof="0" dirty="0"/>
            </a:br>
            <a:r>
              <a:rPr lang="de-DE" noProof="0" dirty="0"/>
              <a:t>Präsentation in </a:t>
            </a:r>
            <a:br>
              <a:rPr lang="de-DE" noProof="0" dirty="0"/>
            </a:br>
            <a:r>
              <a:rPr lang="de-DE" noProof="0" dirty="0"/>
              <a:t>maximal drei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2339975" y="5445001"/>
            <a:ext cx="4464050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r>
              <a:rPr lang="de-DE" noProof="0"/>
              <a:t>Master-Untertitelformat bearbeiten</a:t>
            </a:r>
            <a:endParaRPr lang="de-DE" noProof="0" dirty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3706200" y="4868864"/>
            <a:ext cx="1731600" cy="142423"/>
          </a:xfrm>
          <a:prstGeom prst="roundRect">
            <a:avLst>
              <a:gd name="adj" fmla="val 50000"/>
            </a:avLst>
          </a:prstGeom>
          <a:solidFill>
            <a:srgbClr val="FFE000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9B8A9EC-5AE1-4C2A-BBEE-518EA4E035A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 wrap="none"/>
          <a:lstStyle/>
          <a:p>
            <a:fld id="{C707F34C-34BA-491C-8012-2B9C90D206C2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F6EECD-F0A5-46EC-82DC-A250C2AA7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3F6537-555F-452F-82FA-B188EF50A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 wrap="none"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0886F9F-C6AB-4294-A4F7-777D4B2D41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3995737" y="520406"/>
            <a:ext cx="1152526" cy="768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0448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83888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F01BF3-5E3B-4F8E-AB3B-E070AB6B021B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E3E5AEE6-4A6E-455E-BD60-8BE42027F08E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C1E8F5-1397-40A5-BFBE-A95E21862C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5F1C2-5BA9-4DB4-96CD-50E2D6AFA0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CF5491CC-BC46-4FAF-8941-63A9EDD159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23850" y="1411289"/>
            <a:ext cx="2734868" cy="5041901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A815259B-F024-43CC-A198-7A0FD634932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3203575" y="1411289"/>
            <a:ext cx="2734868" cy="5041901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C7C123BB-7B12-4D15-B032-4C6DF2CDB1C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6083300" y="1411289"/>
            <a:ext cx="2734869" cy="5041901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8755755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52664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F01BF3-5E3B-4F8E-AB3B-E070AB6B021B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8C59ECC9-0881-4105-B052-1142C7A8EF5E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C1E8F5-1397-40A5-BFBE-A95E21862C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5F1C2-5BA9-4DB4-96CD-50E2D6AFA0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65C92D5E-BAAA-4905-80BA-1716901F5A3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23850" y="1411289"/>
            <a:ext cx="2735264" cy="2449512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71B1F06B-EC08-416F-AAA1-411EE8FDAD0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3203574" y="1411289"/>
            <a:ext cx="2735265" cy="2449512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F263A0A-5B2A-46E3-96AF-64D01FB467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6083299" y="1411289"/>
            <a:ext cx="2735265" cy="2449512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F57CC67B-5299-44AE-9A67-0821F16B02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323849" y="4005263"/>
            <a:ext cx="2735263" cy="2449512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1C28694A-CE82-4FA0-A5F9-9E2D3E32D2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3203575" y="4005263"/>
            <a:ext cx="2736850" cy="2449512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5DC14125-2FF9-4F77-8D9A-CE2533E3801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6083299" y="4005263"/>
            <a:ext cx="2735265" cy="2449512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9012590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76266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84094" y="0"/>
            <a:ext cx="3059906" cy="6453188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59D8B67-F448-4FDD-984D-6E7554F5EF4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3850" y="1"/>
            <a:ext cx="5616575" cy="1125538"/>
          </a:xfrm>
        </p:spPr>
        <p:txBody>
          <a:bodyPr vert="horz" rIns="144000"/>
          <a:lstStyle/>
          <a:p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DA9E7-F5BE-4A84-8E7B-D736D9ED935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8B2E1805-53AD-4C76-B578-4018982C5453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384B9A-4174-4D9D-9EF8-E59B4C9515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FA5FD0-3E85-4292-A0CE-868AE00072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A18482F0-D25F-485F-A038-1D3375E1D7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323850" y="1411289"/>
            <a:ext cx="5616575" cy="5041901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1" name="SmartArt-Platzhalter 11">
            <a:extLst>
              <a:ext uri="{FF2B5EF4-FFF2-40B4-BE49-F238E27FC236}">
                <a16:creationId xmlns:a16="http://schemas.microsoft.com/office/drawing/2014/main" id="{88D9D20A-FFF4-4608-85BF-EE166ADE57C1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 bwMode="gray">
          <a:xfrm>
            <a:off x="8487296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430898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767014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643438" y="0"/>
            <a:ext cx="4500562" cy="6453188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59D8B67-F448-4FDD-984D-6E7554F5EF4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3850" y="1"/>
            <a:ext cx="4176713" cy="1125538"/>
          </a:xfrm>
        </p:spPr>
        <p:txBody>
          <a:bodyPr vert="horz" rIns="144000"/>
          <a:lstStyle/>
          <a:p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7DAB839-6EDD-4178-BE8E-588EF7241AAC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84FB5433-9722-4136-B22D-6B98B94B881B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7DBB78D-8B69-45E8-8385-9B8830A13C0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35C623B-FA1D-4980-87F5-04FA7F9DBE1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687DD334-3B2F-492A-B1F9-37793F971B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323850" y="1411289"/>
            <a:ext cx="4176714" cy="5041901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4" name="SmartArt-Platzhalter 11">
            <a:extLst>
              <a:ext uri="{FF2B5EF4-FFF2-40B4-BE49-F238E27FC236}">
                <a16:creationId xmlns:a16="http://schemas.microsoft.com/office/drawing/2014/main" id="{8ABF5EE4-9CB0-4578-B17C-150C944EBD3D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 bwMode="gray">
          <a:xfrm>
            <a:off x="8487296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55693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3D84946B-E163-4ADA-8A99-DC1319431949}"/>
              </a:ext>
            </a:extLst>
          </p:cNvPr>
          <p:cNvSpPr/>
          <p:nvPr userDrawn="1"/>
        </p:nvSpPr>
        <p:spPr bwMode="gray">
          <a:xfrm>
            <a:off x="0" y="0"/>
            <a:ext cx="9144000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CEC443DD-2BF6-4B18-84D7-A28FE56FF2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9144000" cy="6453188"/>
          </a:xfrm>
          <a:solidFill>
            <a:schemeClr val="accent1"/>
          </a:solidFill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2F830EA-47C1-4965-BD05-B1B8E92212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291827" y="1412876"/>
            <a:ext cx="5512197" cy="331152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48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bg1"/>
                </a:solidFill>
              </a:defRPr>
            </a:lvl2pPr>
            <a:lvl3pPr marL="180000" indent="-180000"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CF53ED3-38A7-4F5B-8F74-CF94F11AE3B5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A065B01F-7AE5-4D97-A499-B0C5B16C1936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B4A587-2B48-47E5-8FC8-FCC736BF5F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E580F-6707-42B3-AB53-A8B38B0BBB5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CF59287-810C-47D8-BAD6-E90E56A6D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1827" y="836614"/>
            <a:ext cx="4648598" cy="574675"/>
          </a:xfrm>
        </p:spPr>
        <p:txBody>
          <a:bodyPr tIns="144000" rIns="0"/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SmartArt-Platzhalter 11">
            <a:extLst>
              <a:ext uri="{FF2B5EF4-FFF2-40B4-BE49-F238E27FC236}">
                <a16:creationId xmlns:a16="http://schemas.microsoft.com/office/drawing/2014/main" id="{99668CF1-56C1-4415-AD93-0C5B18D99806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 bwMode="gray">
          <a:xfrm>
            <a:off x="8487296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9178620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565278-BB75-401A-8687-D446A5A81167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389144" y="6453188"/>
            <a:ext cx="431006" cy="404812"/>
          </a:xfrm>
        </p:spPr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03576" y="1411289"/>
            <a:ext cx="2736850" cy="5041899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FE7000F-F103-49B3-A2C9-FE901A2D34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081147" y="1411289"/>
            <a:ext cx="2739003" cy="5041899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9094ED5F-72E2-4E12-8A00-EC304260D7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23850" y="1411289"/>
            <a:ext cx="2734469" cy="5041901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5506015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B0B5FFF-2997-4F4F-A8DC-C7BDB26016E9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389144" y="6453188"/>
            <a:ext cx="431006" cy="404812"/>
          </a:xfrm>
        </p:spPr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3850" y="1411289"/>
            <a:ext cx="2736000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FE7000F-F103-49B3-A2C9-FE901A2D34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204425" y="1411289"/>
            <a:ext cx="2736000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6018F24F-3A27-42DA-B136-26A31096759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084151" y="1411289"/>
            <a:ext cx="2736000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7CE806B6-1279-4030-A8DE-41213B965F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23849" y="4005263"/>
            <a:ext cx="8496300" cy="2447927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0844733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A3D2981-FCE7-4520-A35E-7B5C99A1C070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3850" y="1411288"/>
            <a:ext cx="8496300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124102998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0994F32-1AD0-4FEE-8991-376A37E4DE35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3850" y="1411288"/>
            <a:ext cx="4176714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643438" y="1411288"/>
            <a:ext cx="4176712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350297771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89F5FA1-CF00-4A06-B4D0-71EA13C835E5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3850" y="1411288"/>
            <a:ext cx="2735263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03575" y="1411288"/>
            <a:ext cx="2736850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3EAD474-945A-49D3-BA33-F439607C587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84889" y="1411288"/>
            <a:ext cx="2735262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329268581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Petrol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23850" y="1412875"/>
            <a:ext cx="8496300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 der </a:t>
            </a:r>
            <a:br>
              <a:rPr lang="de-DE" noProof="0" dirty="0"/>
            </a:br>
            <a:r>
              <a:rPr lang="de-DE" noProof="0" dirty="0"/>
              <a:t>Präsentation in </a:t>
            </a:r>
            <a:br>
              <a:rPr lang="de-DE" noProof="0" dirty="0"/>
            </a:br>
            <a:r>
              <a:rPr lang="de-DE" noProof="0" dirty="0"/>
              <a:t>maximal drei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invGray">
          <a:xfrm>
            <a:off x="2339975" y="5445001"/>
            <a:ext cx="4464050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-Untertitelformat bearbeiten</a:t>
            </a:r>
            <a:endParaRPr lang="de-DE" noProof="0" dirty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3706200" y="4868864"/>
            <a:ext cx="1731600" cy="142423"/>
          </a:xfrm>
          <a:prstGeom prst="roundRect">
            <a:avLst>
              <a:gd name="adj" fmla="val 50000"/>
            </a:avLst>
          </a:prstGeom>
          <a:solidFill>
            <a:srgbClr val="FFE000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E7008C-2C7E-41ED-9F05-C6A0BDF77AA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B57877-381A-47E6-899E-2885A6EDFDA4}" type="datetime1">
              <a:rPr lang="de-DE" noProof="0" smtClean="0"/>
              <a:t>21.10.2023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C2CF0B-622F-4545-BE11-8DDD05100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E393D8-FCE9-4E38-87AE-611557F6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903AE06-3C8A-4B2B-B086-9F41449B9B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3995737" y="520406"/>
            <a:ext cx="1152526" cy="768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94195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95131C2-802F-47EF-A3F4-3F2922B81D26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3851" y="1411288"/>
            <a:ext cx="4176712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41710" y="4005262"/>
            <a:ext cx="4158853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3EAD474-945A-49D3-BA33-F439607C587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3438" y="1411288"/>
            <a:ext cx="4176712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20157F93-CAFF-4A26-B7A5-93B3E4E943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643439" y="4005262"/>
            <a:ext cx="4176711" cy="2447926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311629683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Pictur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9D2E8B-3355-4CFE-B70E-CDEE82884EF3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9A623B57-1102-44D9-B1B6-4E17A68D93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3850" y="1411288"/>
            <a:ext cx="2736056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A82A0161-3FE9-4403-AE5C-565B29333E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03575" y="1411288"/>
            <a:ext cx="2736056" cy="5041900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C24B0E04-EF03-4201-BA65-AA421A728B0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84887" y="1411289"/>
            <a:ext cx="2735263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A058E0CE-3B5A-4CBE-95CF-704E229BEC3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3850" y="4005263"/>
            <a:ext cx="2736056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22" name="Bildplatzhalter 8">
            <a:extLst>
              <a:ext uri="{FF2B5EF4-FFF2-40B4-BE49-F238E27FC236}">
                <a16:creationId xmlns:a16="http://schemas.microsoft.com/office/drawing/2014/main" id="{78CDFF39-B853-4D83-8433-E4559C62694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084887" y="4005263"/>
            <a:ext cx="2735263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423994337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EB861FC-EAF7-479C-8AFA-DCA66028E4ED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0" noProof="0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4EF8E4A7-B965-4790-8BDD-1E1DF4817A0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3850" y="1411288"/>
            <a:ext cx="2736056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C3A95073-1B51-4ADF-8F96-E4C84B1101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03575" y="1411288"/>
            <a:ext cx="2736056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5F59BAA5-C9C9-49A1-BBE9-B7C98BB158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84889" y="1411288"/>
            <a:ext cx="2735262" cy="2449512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6CF86C4-B871-4E6C-A72D-FE10F8E4213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3850" y="4005263"/>
            <a:ext cx="2735264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3C2A06D1-8FFB-41EA-BF69-68EEC7702D2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203575" y="4005263"/>
            <a:ext cx="2736850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2C8BF51C-A7F1-4507-BB17-25073365B25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084095" y="4005263"/>
            <a:ext cx="2736056" cy="2447925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Fügen Sie ein Bild über Klicken auf das Symbol ein. 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Alternativ kopieren Sie ein Bild in die Zwischenablage, </a:t>
            </a:r>
            <a:br>
              <a:rPr lang="de-DE" noProof="0"/>
            </a:br>
            <a:r>
              <a:rPr lang="de-DE" noProof="0"/>
              <a:t>wählen Sie den Platzhalter an und klicken Sie einfügen. </a:t>
            </a:r>
          </a:p>
        </p:txBody>
      </p:sp>
    </p:spTree>
    <p:extLst>
      <p:ext uri="{BB962C8B-B14F-4D97-AF65-F5344CB8AC3E}">
        <p14:creationId xmlns:p14="http://schemas.microsoft.com/office/powerpoint/2010/main" val="51841751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E8E5B0D-9C22-438C-8C31-4E9389D516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7877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E8E5B0D-9C22-438C-8C31-4E9389D516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816DA9D-D2BE-4E0E-A5A8-8715DF27BE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23850" y="1"/>
            <a:ext cx="8496300" cy="4004667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99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99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99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99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99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99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99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99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100%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2339975" y="5155606"/>
            <a:ext cx="4464049" cy="1297582"/>
          </a:xfrm>
        </p:spPr>
        <p:txBody>
          <a:bodyPr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AC2E15-C1F4-4005-BE2B-EEE437719B68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C71BE07B-34AB-4297-B10B-AEDD2BD3ACBD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F9BD44-96D2-4326-8E57-5D0B294639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45491B-74AB-4CF6-9AC6-E80178BCE8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BB9208B-8121-464A-8899-BDC6155930B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3850" y="4004668"/>
            <a:ext cx="8496300" cy="1150939"/>
          </a:xfrm>
        </p:spPr>
        <p:txBody>
          <a:bodyPr tIns="0" rIns="0"/>
          <a:lstStyle>
            <a:lvl1pPr algn="ctr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82322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3E44ED3-CF40-4D39-A592-54FB189FA1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14530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3E44ED3-CF40-4D39-A592-54FB189FA1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816DA9D-D2BE-4E0E-A5A8-8715DF27BE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23848" y="1125538"/>
            <a:ext cx="4176713" cy="2303462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100%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23848" y="4724400"/>
            <a:ext cx="4176713" cy="172878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AC2E15-C1F4-4005-BE2B-EEE437719B68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E0F93119-AEF7-4BD4-A97E-1C9A31E62D73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F9BD44-96D2-4326-8E57-5D0B294639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45491B-74AB-4CF6-9AC6-E80178BCE8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35BE10ED-69AC-4620-BD68-23B7AF9C487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323848" y="3429000"/>
            <a:ext cx="4176713" cy="12954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/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1303003-72BC-4F2D-AABF-B4153A9F51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43435" y="1125538"/>
            <a:ext cx="4176713" cy="2303462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100%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2B6D0FF4-26E7-47A8-91E4-49520D17962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4643435" y="4724400"/>
            <a:ext cx="4176713" cy="172878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961F0CB-55DD-4B93-BAC0-8CEB8FC904A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4643435" y="3429000"/>
            <a:ext cx="4176713" cy="12954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/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99FEA71-D758-4C45-A4B8-27C089EE82F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418115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5C1FFB7-E45A-487F-9DA5-4D1DFF6841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-1"/>
            <a:ext cx="8496301" cy="3428999"/>
          </a:xfrm>
        </p:spPr>
        <p:txBody>
          <a:bodyPr tIns="360000" rIns="0" anchor="b"/>
          <a:lstStyle>
            <a:lvl1pPr algn="ctr">
              <a:defRPr sz="4800"/>
            </a:lvl1pPr>
          </a:lstStyle>
          <a:p>
            <a:r>
              <a:rPr lang="de-DE" dirty="0"/>
              <a:t>„Zitat“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84438" y="4293097"/>
            <a:ext cx="4175125" cy="575767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 dirty="0"/>
              <a:t>Vorname Nachname</a:t>
            </a:r>
          </a:p>
          <a:p>
            <a:pPr lvl="0"/>
            <a:r>
              <a:rPr lang="de-DE" noProof="0" dirty="0"/>
              <a:t>Position, Beschreibung, …</a:t>
            </a:r>
          </a:p>
        </p:txBody>
      </p:sp>
      <p:sp>
        <p:nvSpPr>
          <p:cNvPr id="11" name="Google Shape;192;p37">
            <a:extLst>
              <a:ext uri="{FF2B5EF4-FFF2-40B4-BE49-F238E27FC236}">
                <a16:creationId xmlns:a16="http://schemas.microsoft.com/office/drawing/2014/main" id="{52B73378-B483-470B-86EB-BAFC200D6F4B}"/>
              </a:ext>
            </a:extLst>
          </p:cNvPr>
          <p:cNvSpPr/>
          <p:nvPr userDrawn="1"/>
        </p:nvSpPr>
        <p:spPr bwMode="black">
          <a:xfrm>
            <a:off x="3706200" y="3717033"/>
            <a:ext cx="1731600" cy="142423"/>
          </a:xfrm>
          <a:prstGeom prst="roundRect">
            <a:avLst>
              <a:gd name="adj" fmla="val 50000"/>
            </a:avLst>
          </a:prstGeom>
          <a:solidFill>
            <a:srgbClr val="FFE000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919CABA2-15F9-4631-B1E7-4880409683B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996000" y="4869161"/>
            <a:ext cx="1152000" cy="1150937"/>
          </a:xfrm>
          <a:prstGeom prst="ellipse">
            <a:avLst/>
          </a:prstGeom>
          <a:noFill/>
        </p:spPr>
        <p:txBody>
          <a:bodyPr lIns="0" tIns="0" rIns="324000" bIns="576000" anchor="b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76E2B5-E827-4327-8AF9-3BD1D72F0E92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249CCB1B-9060-4334-9D1C-9E8BA360B53F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1343C8-5C6F-4A2A-91D5-C3CA7B2576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06464E-8FE7-4C45-8743-A0134C1832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</p:spTree>
    <p:extLst>
      <p:ext uri="{BB962C8B-B14F-4D97-AF65-F5344CB8AC3E}">
        <p14:creationId xmlns:p14="http://schemas.microsoft.com/office/powerpoint/2010/main" val="39667734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493CB55-B2EA-48C1-B7E1-DDEC6D84F98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9144000" cy="6858000"/>
          </a:xfrm>
          <a:solidFill>
            <a:schemeClr val="accent1"/>
          </a:solidFill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84438" y="4293097"/>
            <a:ext cx="4175125" cy="575767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Vorname Nachname</a:t>
            </a:r>
          </a:p>
          <a:p>
            <a:pPr lvl="0"/>
            <a:r>
              <a:rPr lang="de-DE" noProof="0" dirty="0"/>
              <a:t>Position, Beschreibung, …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76E2B5-E827-4327-8AF9-3BD1D72F0E92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115BB1-6EBB-4937-BCBC-B89E8C4FAAFA}" type="datetime1">
              <a:rPr lang="de-DE" noProof="0" smtClean="0"/>
              <a:t>21.10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1343C8-5C6F-4A2A-91D5-C3CA7B2576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06464E-8FE7-4C45-8743-A0134C1832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5" name="SmartArt-Platzhalter 4">
            <a:extLst>
              <a:ext uri="{FF2B5EF4-FFF2-40B4-BE49-F238E27FC236}">
                <a16:creationId xmlns:a16="http://schemas.microsoft.com/office/drawing/2014/main" id="{C921B45A-A21B-4806-B964-F27C7867625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 bwMode="white">
          <a:xfrm>
            <a:off x="3706200" y="3717033"/>
            <a:ext cx="1731600" cy="14242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 noProof="0"/>
              <a:t> </a:t>
            </a:r>
          </a:p>
        </p:txBody>
      </p:sp>
      <p:sp>
        <p:nvSpPr>
          <p:cNvPr id="11" name="Titel 3">
            <a:extLst>
              <a:ext uri="{FF2B5EF4-FFF2-40B4-BE49-F238E27FC236}">
                <a16:creationId xmlns:a16="http://schemas.microsoft.com/office/drawing/2014/main" id="{2DC04B09-674F-42AE-99EC-BAFCE0C9A5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-1"/>
            <a:ext cx="8496301" cy="3428999"/>
          </a:xfrm>
        </p:spPr>
        <p:txBody>
          <a:bodyPr tIns="360000" rIns="0"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„Zitat“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A5FF6ACE-A5BE-43F9-AF5C-6D79D78FA52E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 bwMode="gray">
          <a:xfrm>
            <a:off x="8487296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36686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3D84946B-E163-4ADA-8A99-DC1319431949}"/>
              </a:ext>
            </a:extLst>
          </p:cNvPr>
          <p:cNvSpPr/>
          <p:nvPr userDrawn="1"/>
        </p:nvSpPr>
        <p:spPr bwMode="gray">
          <a:xfrm>
            <a:off x="0" y="0"/>
            <a:ext cx="9144000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CEC443DD-2BF6-4B18-84D7-A28FE56FF2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9144000" cy="6453188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2F830EA-47C1-4965-BD05-B1B8E92212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291827" y="1412876"/>
            <a:ext cx="5512197" cy="331152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bg1"/>
                </a:solidFill>
              </a:defRPr>
            </a:lvl2pPr>
            <a:lvl3pPr marL="180000" indent="-180000"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CF53ED3-38A7-4F5B-8F74-CF94F11AE3B5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C5C3FB75-3D06-4787-A72A-9A6ECC9BBD86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B4A587-2B48-47E5-8FC8-FCC736BF5F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E580F-6707-42B3-AB53-A8B38B0BBB5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CF59287-810C-47D8-BAD6-E90E56A6D61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291827" y="836614"/>
            <a:ext cx="4648598" cy="574675"/>
          </a:xfrm>
        </p:spPr>
        <p:txBody>
          <a:bodyPr tIns="144000" rIns="0"/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SmartArt-Platzhalter 11">
            <a:extLst>
              <a:ext uri="{FF2B5EF4-FFF2-40B4-BE49-F238E27FC236}">
                <a16:creationId xmlns:a16="http://schemas.microsoft.com/office/drawing/2014/main" id="{71D09A49-3EBA-4237-A0F7-0F5B87D5AEE1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 bwMode="gray">
          <a:xfrm>
            <a:off x="8487296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061095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85044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84888" y="0"/>
            <a:ext cx="3059112" cy="6453188"/>
          </a:xfrm>
          <a:noFill/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DE" noProof="0" dirty="0"/>
              <a:t>Fügen Sie ein Bild über Klicken auf das Symbol ei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lternativ kopieren Sie ein Bild in die Zwischenablage, </a:t>
            </a:r>
            <a:br>
              <a:rPr lang="de-DE" noProof="0" dirty="0"/>
            </a:br>
            <a:r>
              <a:rPr lang="de-DE" noProof="0" dirty="0"/>
              <a:t>wählen Sie den Platzhalter an und klicken Sie einfügen. 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Achten Sie darauf, dass das Logo im Vordergrund ist und </a:t>
            </a:r>
            <a:br>
              <a:rPr lang="de-DE" noProof="0" dirty="0"/>
            </a:br>
            <a:r>
              <a:rPr lang="de-DE" noProof="0" dirty="0"/>
              <a:t>wählen Sie bei hellen Bildern Petrol als Logofarbe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DA9E7-F5BE-4A84-8E7B-D736D9ED935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9E0C10FE-87AB-4222-9592-BFB3606FD306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384B9A-4174-4D9D-9EF8-E59B4C9515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FA5FD0-3E85-4292-A0CE-868AE00072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061FEFF-B2E2-4D83-907B-D9C5A33FCC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23850" y="1412876"/>
            <a:ext cx="5616575" cy="3311524"/>
          </a:xfrm>
        </p:spPr>
        <p:txBody>
          <a:bodyPr rIns="0"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3200" b="1">
                <a:solidFill>
                  <a:schemeClr val="tx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tx1"/>
                </a:solidFill>
              </a:defRPr>
            </a:lvl2pPr>
            <a:lvl3pPr marL="180000" indent="-1800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BAC0196D-514D-46A6-A03F-5BB2BFFCCCE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3850" y="836614"/>
            <a:ext cx="4176714" cy="574675"/>
          </a:xfrm>
        </p:spPr>
        <p:txBody>
          <a:bodyPr tIns="144000" rIns="0"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SmartArt-Platzhalter 11">
            <a:extLst>
              <a:ext uri="{FF2B5EF4-FFF2-40B4-BE49-F238E27FC236}">
                <a16:creationId xmlns:a16="http://schemas.microsoft.com/office/drawing/2014/main" id="{E6C722B4-D3F4-4E25-9274-F231EA1131FB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 bwMode="gray">
          <a:xfrm>
            <a:off x="8487296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216587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516798-E4B4-4414-AB3E-30937398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252412" y="6993396"/>
            <a:ext cx="647588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8708ACD0-954B-4AEB-B2E6-FE536B1ED4FB}" type="datetime1">
              <a:rPr lang="de-DE" noProof="0" smtClean="0"/>
              <a:t>21.10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ABE745-C331-4E9F-83AF-E0923547A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2844404" y="6993396"/>
            <a:ext cx="3455193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EC9D6A-EEDB-4842-8E50-B62D4608E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460581" y="6993396"/>
            <a:ext cx="431006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C9587D4-31E5-4A01-85A8-83E763E42B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3669218" y="2827020"/>
            <a:ext cx="1805564" cy="1203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30936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95F051-78E1-4BBE-9041-A0D9098035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invGray">
          <a:xfrm>
            <a:off x="323849" y="1125538"/>
            <a:ext cx="8496301" cy="3598862"/>
          </a:xfrm>
        </p:spPr>
        <p:txBody>
          <a:bodyPr/>
          <a:lstStyle>
            <a:lvl1pPr marL="0" indent="43200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+mj-lt"/>
              <a:buAutoNum type="arabicPeriod"/>
              <a:defRPr sz="3200" b="1">
                <a:solidFill>
                  <a:schemeClr val="bg1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EFB2D47-3D81-4721-9D85-C768E73AE3DC}"/>
              </a:ext>
            </a:extLst>
          </p:cNvPr>
          <p:cNvSpPr txBox="1">
            <a:spLocks/>
          </p:cNvSpPr>
          <p:nvPr userDrawn="1"/>
        </p:nvSpPr>
        <p:spPr bwMode="invGray">
          <a:xfrm>
            <a:off x="4179600" y="5474076"/>
            <a:ext cx="784800" cy="211746"/>
          </a:xfrm>
          <a:custGeom>
            <a:avLst/>
            <a:gdLst/>
            <a:ahLst/>
            <a:cxnLst/>
            <a:rect l="l" t="t" r="r" b="b"/>
            <a:pathLst>
              <a:path w="784510" h="211746">
                <a:moveTo>
                  <a:pt x="757833" y="104143"/>
                </a:moveTo>
                <a:cubicBezTo>
                  <a:pt x="750541" y="107120"/>
                  <a:pt x="739602" y="109650"/>
                  <a:pt x="725017" y="111733"/>
                </a:cubicBezTo>
                <a:cubicBezTo>
                  <a:pt x="716757" y="112924"/>
                  <a:pt x="710915" y="114263"/>
                  <a:pt x="707492" y="115752"/>
                </a:cubicBezTo>
                <a:cubicBezTo>
                  <a:pt x="704069" y="117240"/>
                  <a:pt x="701427" y="119416"/>
                  <a:pt x="699567" y="122281"/>
                </a:cubicBezTo>
                <a:cubicBezTo>
                  <a:pt x="697707" y="125146"/>
                  <a:pt x="696776" y="128328"/>
                  <a:pt x="696776" y="131825"/>
                </a:cubicBezTo>
                <a:cubicBezTo>
                  <a:pt x="696776" y="137183"/>
                  <a:pt x="698804" y="141648"/>
                  <a:pt x="702860" y="145220"/>
                </a:cubicBezTo>
                <a:cubicBezTo>
                  <a:pt x="706915" y="148791"/>
                  <a:pt x="712850" y="150577"/>
                  <a:pt x="720663" y="150577"/>
                </a:cubicBezTo>
                <a:cubicBezTo>
                  <a:pt x="728402" y="150577"/>
                  <a:pt x="735286" y="148884"/>
                  <a:pt x="741313" y="145499"/>
                </a:cubicBezTo>
                <a:cubicBezTo>
                  <a:pt x="747341" y="142113"/>
                  <a:pt x="751768" y="137480"/>
                  <a:pt x="754596" y="131602"/>
                </a:cubicBezTo>
                <a:cubicBezTo>
                  <a:pt x="756754" y="127063"/>
                  <a:pt x="757833" y="120365"/>
                  <a:pt x="757833" y="111510"/>
                </a:cubicBezTo>
                <a:close/>
                <a:moveTo>
                  <a:pt x="593564" y="59048"/>
                </a:moveTo>
                <a:cubicBezTo>
                  <a:pt x="584634" y="59048"/>
                  <a:pt x="577174" y="62694"/>
                  <a:pt x="571184" y="69987"/>
                </a:cubicBezTo>
                <a:cubicBezTo>
                  <a:pt x="565194" y="77280"/>
                  <a:pt x="562199" y="88776"/>
                  <a:pt x="562199" y="104478"/>
                </a:cubicBezTo>
                <a:cubicBezTo>
                  <a:pt x="562199" y="119658"/>
                  <a:pt x="565398" y="131006"/>
                  <a:pt x="571798" y="138522"/>
                </a:cubicBezTo>
                <a:cubicBezTo>
                  <a:pt x="578198" y="146038"/>
                  <a:pt x="585751" y="149796"/>
                  <a:pt x="594457" y="149796"/>
                </a:cubicBezTo>
                <a:cubicBezTo>
                  <a:pt x="603238" y="149796"/>
                  <a:pt x="610698" y="146206"/>
                  <a:pt x="616837" y="139025"/>
                </a:cubicBezTo>
                <a:cubicBezTo>
                  <a:pt x="622976" y="131844"/>
                  <a:pt x="626046" y="120886"/>
                  <a:pt x="626046" y="106152"/>
                </a:cubicBezTo>
                <a:cubicBezTo>
                  <a:pt x="626046" y="89930"/>
                  <a:pt x="622920" y="78024"/>
                  <a:pt x="616670" y="70433"/>
                </a:cubicBezTo>
                <a:cubicBezTo>
                  <a:pt x="610419" y="62843"/>
                  <a:pt x="602717" y="59048"/>
                  <a:pt x="593564" y="59048"/>
                </a:cubicBezTo>
                <a:close/>
                <a:moveTo>
                  <a:pt x="203374" y="59048"/>
                </a:moveTo>
                <a:cubicBezTo>
                  <a:pt x="194444" y="59048"/>
                  <a:pt x="186854" y="62676"/>
                  <a:pt x="180603" y="69931"/>
                </a:cubicBezTo>
                <a:cubicBezTo>
                  <a:pt x="174352" y="77186"/>
                  <a:pt x="171227" y="87958"/>
                  <a:pt x="171227" y="102245"/>
                </a:cubicBezTo>
                <a:cubicBezTo>
                  <a:pt x="171227" y="117798"/>
                  <a:pt x="174315" y="129146"/>
                  <a:pt x="180492" y="136290"/>
                </a:cubicBezTo>
                <a:cubicBezTo>
                  <a:pt x="186668" y="143434"/>
                  <a:pt x="194407" y="147005"/>
                  <a:pt x="203709" y="147005"/>
                </a:cubicBezTo>
                <a:cubicBezTo>
                  <a:pt x="212936" y="147005"/>
                  <a:pt x="220675" y="143452"/>
                  <a:pt x="226926" y="136346"/>
                </a:cubicBezTo>
                <a:cubicBezTo>
                  <a:pt x="233177" y="129239"/>
                  <a:pt x="236302" y="118096"/>
                  <a:pt x="236302" y="102915"/>
                </a:cubicBezTo>
                <a:cubicBezTo>
                  <a:pt x="236302" y="88404"/>
                  <a:pt x="233084" y="77466"/>
                  <a:pt x="226647" y="70099"/>
                </a:cubicBezTo>
                <a:cubicBezTo>
                  <a:pt x="220210" y="62732"/>
                  <a:pt x="212452" y="59048"/>
                  <a:pt x="203374" y="59048"/>
                </a:cubicBezTo>
                <a:close/>
                <a:moveTo>
                  <a:pt x="340519" y="58936"/>
                </a:moveTo>
                <a:cubicBezTo>
                  <a:pt x="331292" y="58936"/>
                  <a:pt x="323534" y="62025"/>
                  <a:pt x="317246" y="68201"/>
                </a:cubicBezTo>
                <a:cubicBezTo>
                  <a:pt x="310958" y="74377"/>
                  <a:pt x="307479" y="82637"/>
                  <a:pt x="306809" y="92981"/>
                </a:cubicBezTo>
                <a:lnTo>
                  <a:pt x="373001" y="92981"/>
                </a:lnTo>
                <a:cubicBezTo>
                  <a:pt x="372108" y="83009"/>
                  <a:pt x="369578" y="75531"/>
                  <a:pt x="365411" y="70545"/>
                </a:cubicBezTo>
                <a:cubicBezTo>
                  <a:pt x="359011" y="62806"/>
                  <a:pt x="350714" y="58936"/>
                  <a:pt x="340519" y="58936"/>
                </a:cubicBezTo>
                <a:close/>
                <a:moveTo>
                  <a:pt x="732272" y="42417"/>
                </a:moveTo>
                <a:cubicBezTo>
                  <a:pt x="742392" y="42417"/>
                  <a:pt x="750615" y="43607"/>
                  <a:pt x="756940" y="45988"/>
                </a:cubicBezTo>
                <a:cubicBezTo>
                  <a:pt x="763265" y="48370"/>
                  <a:pt x="767916" y="51365"/>
                  <a:pt x="770893" y="54974"/>
                </a:cubicBezTo>
                <a:cubicBezTo>
                  <a:pt x="773869" y="58583"/>
                  <a:pt x="775953" y="63141"/>
                  <a:pt x="777143" y="68647"/>
                </a:cubicBezTo>
                <a:cubicBezTo>
                  <a:pt x="777813" y="72071"/>
                  <a:pt x="778148" y="78247"/>
                  <a:pt x="778148" y="87177"/>
                </a:cubicBezTo>
                <a:lnTo>
                  <a:pt x="778148" y="113966"/>
                </a:lnTo>
                <a:cubicBezTo>
                  <a:pt x="778148" y="132644"/>
                  <a:pt x="778576" y="144457"/>
                  <a:pt x="779432" y="149405"/>
                </a:cubicBezTo>
                <a:cubicBezTo>
                  <a:pt x="780287" y="154354"/>
                  <a:pt x="781980" y="159098"/>
                  <a:pt x="784510" y="163637"/>
                </a:cubicBezTo>
                <a:lnTo>
                  <a:pt x="763526" y="163637"/>
                </a:lnTo>
                <a:cubicBezTo>
                  <a:pt x="761442" y="159470"/>
                  <a:pt x="760103" y="154596"/>
                  <a:pt x="759507" y="149015"/>
                </a:cubicBezTo>
                <a:cubicBezTo>
                  <a:pt x="752066" y="155340"/>
                  <a:pt x="744904" y="159805"/>
                  <a:pt x="738020" y="162409"/>
                </a:cubicBezTo>
                <a:cubicBezTo>
                  <a:pt x="731137" y="165014"/>
                  <a:pt x="723751" y="166316"/>
                  <a:pt x="715864" y="166316"/>
                </a:cubicBezTo>
                <a:cubicBezTo>
                  <a:pt x="702841" y="166316"/>
                  <a:pt x="692832" y="163135"/>
                  <a:pt x="685838" y="156772"/>
                </a:cubicBezTo>
                <a:cubicBezTo>
                  <a:pt x="678843" y="150410"/>
                  <a:pt x="675345" y="142280"/>
                  <a:pt x="675345" y="132383"/>
                </a:cubicBezTo>
                <a:cubicBezTo>
                  <a:pt x="675345" y="126579"/>
                  <a:pt x="676666" y="121277"/>
                  <a:pt x="679308" y="116477"/>
                </a:cubicBezTo>
                <a:cubicBezTo>
                  <a:pt x="681949" y="111677"/>
                  <a:pt x="685410" y="107826"/>
                  <a:pt x="689688" y="104924"/>
                </a:cubicBezTo>
                <a:cubicBezTo>
                  <a:pt x="693967" y="102022"/>
                  <a:pt x="698786" y="99827"/>
                  <a:pt x="704143" y="98339"/>
                </a:cubicBezTo>
                <a:cubicBezTo>
                  <a:pt x="708087" y="97297"/>
                  <a:pt x="714040" y="96292"/>
                  <a:pt x="722003" y="95325"/>
                </a:cubicBezTo>
                <a:cubicBezTo>
                  <a:pt x="738225" y="93390"/>
                  <a:pt x="750168" y="91083"/>
                  <a:pt x="757833" y="88404"/>
                </a:cubicBezTo>
                <a:cubicBezTo>
                  <a:pt x="757908" y="85651"/>
                  <a:pt x="757945" y="83902"/>
                  <a:pt x="757945" y="83158"/>
                </a:cubicBezTo>
                <a:cubicBezTo>
                  <a:pt x="757945" y="74973"/>
                  <a:pt x="756047" y="69206"/>
                  <a:pt x="752252" y="65857"/>
                </a:cubicBezTo>
                <a:cubicBezTo>
                  <a:pt x="747117" y="61318"/>
                  <a:pt x="739490" y="59048"/>
                  <a:pt x="729370" y="59048"/>
                </a:cubicBezTo>
                <a:cubicBezTo>
                  <a:pt x="719919" y="59048"/>
                  <a:pt x="712943" y="60704"/>
                  <a:pt x="708441" y="64015"/>
                </a:cubicBezTo>
                <a:cubicBezTo>
                  <a:pt x="703939" y="67327"/>
                  <a:pt x="700609" y="73187"/>
                  <a:pt x="698451" y="81596"/>
                </a:cubicBezTo>
                <a:lnTo>
                  <a:pt x="678805" y="78917"/>
                </a:lnTo>
                <a:cubicBezTo>
                  <a:pt x="680591" y="70508"/>
                  <a:pt x="683531" y="63718"/>
                  <a:pt x="687623" y="58546"/>
                </a:cubicBezTo>
                <a:cubicBezTo>
                  <a:pt x="691716" y="53374"/>
                  <a:pt x="697632" y="49393"/>
                  <a:pt x="705371" y="46602"/>
                </a:cubicBezTo>
                <a:cubicBezTo>
                  <a:pt x="713110" y="43812"/>
                  <a:pt x="722077" y="42417"/>
                  <a:pt x="732272" y="42417"/>
                </a:cubicBezTo>
                <a:close/>
                <a:moveTo>
                  <a:pt x="471265" y="42417"/>
                </a:moveTo>
                <a:cubicBezTo>
                  <a:pt x="478408" y="42417"/>
                  <a:pt x="484975" y="43700"/>
                  <a:pt x="490966" y="46267"/>
                </a:cubicBezTo>
                <a:cubicBezTo>
                  <a:pt x="496956" y="48835"/>
                  <a:pt x="501439" y="52202"/>
                  <a:pt x="504416" y="56369"/>
                </a:cubicBezTo>
                <a:cubicBezTo>
                  <a:pt x="507393" y="60536"/>
                  <a:pt x="509476" y="65485"/>
                  <a:pt x="510667" y="71215"/>
                </a:cubicBezTo>
                <a:cubicBezTo>
                  <a:pt x="511411" y="74935"/>
                  <a:pt x="511783" y="81447"/>
                  <a:pt x="511783" y="90748"/>
                </a:cubicBezTo>
                <a:lnTo>
                  <a:pt x="511783" y="163637"/>
                </a:lnTo>
                <a:lnTo>
                  <a:pt x="491691" y="163637"/>
                </a:lnTo>
                <a:lnTo>
                  <a:pt x="491691" y="91530"/>
                </a:lnTo>
                <a:cubicBezTo>
                  <a:pt x="491691" y="83344"/>
                  <a:pt x="490910" y="77224"/>
                  <a:pt x="489347" y="73168"/>
                </a:cubicBezTo>
                <a:cubicBezTo>
                  <a:pt x="487784" y="69113"/>
                  <a:pt x="485013" y="65876"/>
                  <a:pt x="481031" y="63457"/>
                </a:cubicBezTo>
                <a:cubicBezTo>
                  <a:pt x="477050" y="61039"/>
                  <a:pt x="472381" y="59829"/>
                  <a:pt x="467023" y="59829"/>
                </a:cubicBezTo>
                <a:cubicBezTo>
                  <a:pt x="458465" y="59829"/>
                  <a:pt x="451080" y="62546"/>
                  <a:pt x="444866" y="67978"/>
                </a:cubicBezTo>
                <a:cubicBezTo>
                  <a:pt x="438653" y="73410"/>
                  <a:pt x="435546" y="83716"/>
                  <a:pt x="435546" y="98897"/>
                </a:cubicBezTo>
                <a:lnTo>
                  <a:pt x="435546" y="163637"/>
                </a:lnTo>
                <a:lnTo>
                  <a:pt x="415454" y="163637"/>
                </a:lnTo>
                <a:lnTo>
                  <a:pt x="415454" y="45095"/>
                </a:lnTo>
                <a:lnTo>
                  <a:pt x="433537" y="45095"/>
                </a:lnTo>
                <a:lnTo>
                  <a:pt x="433537" y="61950"/>
                </a:lnTo>
                <a:cubicBezTo>
                  <a:pt x="442243" y="48928"/>
                  <a:pt x="454819" y="42417"/>
                  <a:pt x="471265" y="42417"/>
                </a:cubicBezTo>
                <a:close/>
                <a:moveTo>
                  <a:pt x="340296" y="42417"/>
                </a:moveTo>
                <a:cubicBezTo>
                  <a:pt x="356146" y="42417"/>
                  <a:pt x="369094" y="47812"/>
                  <a:pt x="379140" y="58602"/>
                </a:cubicBezTo>
                <a:cubicBezTo>
                  <a:pt x="389186" y="69392"/>
                  <a:pt x="394209" y="84572"/>
                  <a:pt x="394209" y="104143"/>
                </a:cubicBezTo>
                <a:cubicBezTo>
                  <a:pt x="394209" y="105334"/>
                  <a:pt x="394172" y="107120"/>
                  <a:pt x="394097" y="109501"/>
                </a:cubicBezTo>
                <a:lnTo>
                  <a:pt x="305693" y="109501"/>
                </a:lnTo>
                <a:cubicBezTo>
                  <a:pt x="306437" y="122523"/>
                  <a:pt x="310121" y="132495"/>
                  <a:pt x="316744" y="139415"/>
                </a:cubicBezTo>
                <a:cubicBezTo>
                  <a:pt x="323367" y="146336"/>
                  <a:pt x="331627" y="149796"/>
                  <a:pt x="341524" y="149796"/>
                </a:cubicBezTo>
                <a:cubicBezTo>
                  <a:pt x="348891" y="149796"/>
                  <a:pt x="355179" y="147861"/>
                  <a:pt x="360388" y="143992"/>
                </a:cubicBezTo>
                <a:cubicBezTo>
                  <a:pt x="365597" y="140122"/>
                  <a:pt x="369727" y="133946"/>
                  <a:pt x="372778" y="125463"/>
                </a:cubicBezTo>
                <a:lnTo>
                  <a:pt x="393539" y="128030"/>
                </a:lnTo>
                <a:cubicBezTo>
                  <a:pt x="390265" y="140159"/>
                  <a:pt x="384200" y="149573"/>
                  <a:pt x="375345" y="156270"/>
                </a:cubicBezTo>
                <a:cubicBezTo>
                  <a:pt x="366490" y="162967"/>
                  <a:pt x="355179" y="166316"/>
                  <a:pt x="341412" y="166316"/>
                </a:cubicBezTo>
                <a:cubicBezTo>
                  <a:pt x="324074" y="166316"/>
                  <a:pt x="310326" y="160977"/>
                  <a:pt x="300168" y="150298"/>
                </a:cubicBezTo>
                <a:cubicBezTo>
                  <a:pt x="290011" y="139620"/>
                  <a:pt x="284932" y="124644"/>
                  <a:pt x="284932" y="105371"/>
                </a:cubicBezTo>
                <a:cubicBezTo>
                  <a:pt x="284932" y="85428"/>
                  <a:pt x="290066" y="69950"/>
                  <a:pt x="300335" y="58936"/>
                </a:cubicBezTo>
                <a:cubicBezTo>
                  <a:pt x="310605" y="47923"/>
                  <a:pt x="323925" y="42417"/>
                  <a:pt x="340296" y="42417"/>
                </a:cubicBezTo>
                <a:close/>
                <a:moveTo>
                  <a:pt x="201923" y="42417"/>
                </a:moveTo>
                <a:cubicBezTo>
                  <a:pt x="215913" y="42417"/>
                  <a:pt x="227447" y="48072"/>
                  <a:pt x="236525" y="59383"/>
                </a:cubicBezTo>
                <a:lnTo>
                  <a:pt x="236525" y="45095"/>
                </a:lnTo>
                <a:lnTo>
                  <a:pt x="255054" y="45095"/>
                </a:lnTo>
                <a:lnTo>
                  <a:pt x="255054" y="147564"/>
                </a:lnTo>
                <a:cubicBezTo>
                  <a:pt x="255054" y="166018"/>
                  <a:pt x="253176" y="179097"/>
                  <a:pt x="249418" y="186798"/>
                </a:cubicBezTo>
                <a:cubicBezTo>
                  <a:pt x="245660" y="194500"/>
                  <a:pt x="239707" y="200584"/>
                  <a:pt x="231558" y="205048"/>
                </a:cubicBezTo>
                <a:cubicBezTo>
                  <a:pt x="223410" y="209513"/>
                  <a:pt x="213383" y="211746"/>
                  <a:pt x="201476" y="211746"/>
                </a:cubicBezTo>
                <a:cubicBezTo>
                  <a:pt x="187338" y="211746"/>
                  <a:pt x="175915" y="208565"/>
                  <a:pt x="167209" y="202202"/>
                </a:cubicBezTo>
                <a:cubicBezTo>
                  <a:pt x="158502" y="195840"/>
                  <a:pt x="154298" y="186259"/>
                  <a:pt x="154596" y="173460"/>
                </a:cubicBezTo>
                <a:lnTo>
                  <a:pt x="174129" y="176362"/>
                </a:lnTo>
                <a:cubicBezTo>
                  <a:pt x="174948" y="182389"/>
                  <a:pt x="177217" y="186780"/>
                  <a:pt x="180938" y="189533"/>
                </a:cubicBezTo>
                <a:cubicBezTo>
                  <a:pt x="185924" y="193254"/>
                  <a:pt x="192733" y="195114"/>
                  <a:pt x="201365" y="195114"/>
                </a:cubicBezTo>
                <a:cubicBezTo>
                  <a:pt x="210667" y="195114"/>
                  <a:pt x="217847" y="193254"/>
                  <a:pt x="222908" y="189533"/>
                </a:cubicBezTo>
                <a:cubicBezTo>
                  <a:pt x="227968" y="185812"/>
                  <a:pt x="231391" y="180603"/>
                  <a:pt x="233177" y="173906"/>
                </a:cubicBezTo>
                <a:cubicBezTo>
                  <a:pt x="234219" y="169813"/>
                  <a:pt x="234702" y="161219"/>
                  <a:pt x="234628" y="148122"/>
                </a:cubicBezTo>
                <a:cubicBezTo>
                  <a:pt x="225847" y="158465"/>
                  <a:pt x="214908" y="163637"/>
                  <a:pt x="201811" y="163637"/>
                </a:cubicBezTo>
                <a:cubicBezTo>
                  <a:pt x="185515" y="163637"/>
                  <a:pt x="172901" y="157758"/>
                  <a:pt x="163972" y="146001"/>
                </a:cubicBezTo>
                <a:cubicBezTo>
                  <a:pt x="155042" y="134243"/>
                  <a:pt x="150577" y="120142"/>
                  <a:pt x="150577" y="103696"/>
                </a:cubicBezTo>
                <a:cubicBezTo>
                  <a:pt x="150577" y="92386"/>
                  <a:pt x="152624" y="81949"/>
                  <a:pt x="156716" y="72387"/>
                </a:cubicBezTo>
                <a:cubicBezTo>
                  <a:pt x="160809" y="62825"/>
                  <a:pt x="166744" y="55439"/>
                  <a:pt x="174520" y="50230"/>
                </a:cubicBezTo>
                <a:cubicBezTo>
                  <a:pt x="182296" y="45021"/>
                  <a:pt x="191430" y="42417"/>
                  <a:pt x="201923" y="42417"/>
                </a:cubicBezTo>
                <a:close/>
                <a:moveTo>
                  <a:pt x="74005" y="17190"/>
                </a:moveTo>
                <a:cubicBezTo>
                  <a:pt x="71921" y="27683"/>
                  <a:pt x="68982" y="38100"/>
                  <a:pt x="65187" y="48444"/>
                </a:cubicBezTo>
                <a:lnTo>
                  <a:pt x="47216" y="96441"/>
                </a:lnTo>
                <a:lnTo>
                  <a:pt x="102692" y="96441"/>
                </a:lnTo>
                <a:lnTo>
                  <a:pt x="85614" y="51123"/>
                </a:lnTo>
                <a:cubicBezTo>
                  <a:pt x="80405" y="37356"/>
                  <a:pt x="76535" y="26045"/>
                  <a:pt x="74005" y="17190"/>
                </a:cubicBezTo>
                <a:close/>
                <a:moveTo>
                  <a:pt x="624371" y="0"/>
                </a:moveTo>
                <a:lnTo>
                  <a:pt x="644352" y="0"/>
                </a:lnTo>
                <a:lnTo>
                  <a:pt x="644352" y="163637"/>
                </a:lnTo>
                <a:lnTo>
                  <a:pt x="625711" y="163637"/>
                </a:lnTo>
                <a:lnTo>
                  <a:pt x="625711" y="148680"/>
                </a:lnTo>
                <a:cubicBezTo>
                  <a:pt x="618195" y="160437"/>
                  <a:pt x="607145" y="166316"/>
                  <a:pt x="592559" y="166316"/>
                </a:cubicBezTo>
                <a:cubicBezTo>
                  <a:pt x="583109" y="166316"/>
                  <a:pt x="574421" y="163711"/>
                  <a:pt x="566496" y="158502"/>
                </a:cubicBezTo>
                <a:cubicBezTo>
                  <a:pt x="558571" y="153293"/>
                  <a:pt x="552432" y="146019"/>
                  <a:pt x="548078" y="136681"/>
                </a:cubicBezTo>
                <a:cubicBezTo>
                  <a:pt x="543725" y="127342"/>
                  <a:pt x="541549" y="116607"/>
                  <a:pt x="541549" y="104478"/>
                </a:cubicBezTo>
                <a:cubicBezTo>
                  <a:pt x="541549" y="92646"/>
                  <a:pt x="543521" y="81912"/>
                  <a:pt x="547465" y="72275"/>
                </a:cubicBezTo>
                <a:cubicBezTo>
                  <a:pt x="551409" y="62639"/>
                  <a:pt x="557324" y="55253"/>
                  <a:pt x="565212" y="50118"/>
                </a:cubicBezTo>
                <a:cubicBezTo>
                  <a:pt x="573100" y="44984"/>
                  <a:pt x="581918" y="42417"/>
                  <a:pt x="591667" y="42417"/>
                </a:cubicBezTo>
                <a:cubicBezTo>
                  <a:pt x="598810" y="42417"/>
                  <a:pt x="605173" y="43923"/>
                  <a:pt x="610754" y="46937"/>
                </a:cubicBezTo>
                <a:cubicBezTo>
                  <a:pt x="616335" y="49951"/>
                  <a:pt x="620874" y="53876"/>
                  <a:pt x="624371" y="58713"/>
                </a:cubicBezTo>
                <a:close/>
                <a:moveTo>
                  <a:pt x="62843" y="0"/>
                </a:moveTo>
                <a:lnTo>
                  <a:pt x="86172" y="0"/>
                </a:lnTo>
                <a:lnTo>
                  <a:pt x="153144" y="163637"/>
                </a:lnTo>
                <a:lnTo>
                  <a:pt x="128476" y="163637"/>
                </a:lnTo>
                <a:lnTo>
                  <a:pt x="109389" y="114077"/>
                </a:lnTo>
                <a:lnTo>
                  <a:pt x="40965" y="114077"/>
                </a:lnTo>
                <a:lnTo>
                  <a:pt x="22994" y="163637"/>
                </a:lnTo>
                <a:lnTo>
                  <a:pt x="0" y="1636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800" noProof="0"/>
          </a:p>
        </p:txBody>
      </p:sp>
      <p:sp>
        <p:nvSpPr>
          <p:cNvPr id="11" name="Google Shape;192;p37">
            <a:extLst>
              <a:ext uri="{FF2B5EF4-FFF2-40B4-BE49-F238E27FC236}">
                <a16:creationId xmlns:a16="http://schemas.microsoft.com/office/drawing/2014/main" id="{1DE45504-11DD-4AE5-9D58-228ADD011102}"/>
              </a:ext>
            </a:extLst>
          </p:cNvPr>
          <p:cNvSpPr/>
          <p:nvPr userDrawn="1"/>
        </p:nvSpPr>
        <p:spPr bwMode="gray">
          <a:xfrm>
            <a:off x="3706200" y="4868864"/>
            <a:ext cx="1731600" cy="142423"/>
          </a:xfrm>
          <a:prstGeom prst="roundRect">
            <a:avLst>
              <a:gd name="adj" fmla="val 50000"/>
            </a:avLst>
          </a:prstGeom>
          <a:solidFill>
            <a:srgbClr val="FFE000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69C199-7777-4DD5-A74D-6B4B6B0D6A5A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7DE8FA-9238-4DC0-A84B-75DA6749B356}" type="datetime1">
              <a:rPr lang="de-DE" noProof="0" smtClean="0"/>
              <a:t>21.10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115067-4170-4AE6-BF5C-69E8138CF8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0BE1DB-AC6B-4E05-B638-3A67ABEEEE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56868027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516798-E4B4-4414-AB3E-30937398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252412" y="6993396"/>
            <a:ext cx="647588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1E05F3DB-120E-4F5D-A767-233904474855}" type="datetime1">
              <a:rPr lang="de-DE" noProof="0" smtClean="0"/>
              <a:t>21.10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ABE745-C331-4E9F-83AF-E0923547A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2844404" y="6993396"/>
            <a:ext cx="3455193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EC9D6A-EEDB-4842-8E50-B62D4608E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460581" y="6993396"/>
            <a:ext cx="431006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23534D3-DDF5-4544-B749-B06CED448F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3669218" y="2827020"/>
            <a:ext cx="1805564" cy="120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39828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23850" y="1412875"/>
            <a:ext cx="8496300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Diese Folie </a:t>
            </a:r>
            <a:br>
              <a:rPr lang="de-DE" noProof="0" dirty="0"/>
            </a:br>
            <a:r>
              <a:rPr lang="de-DE" noProof="0" dirty="0"/>
              <a:t>dient zur Trennung </a:t>
            </a:r>
            <a:br>
              <a:rPr lang="de-DE" noProof="0" dirty="0"/>
            </a:br>
            <a:r>
              <a:rPr lang="de-DE" noProof="0" dirty="0"/>
              <a:t>zweier Kapitel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2339975" y="5445001"/>
            <a:ext cx="4464049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 dirty="0"/>
              <a:t>Kapitel Nr. #</a:t>
            </a:r>
          </a:p>
          <a:p>
            <a:pPr lvl="0"/>
            <a:r>
              <a:rPr lang="de-DE" noProof="0" dirty="0"/>
              <a:t>Mastertextformat bearbeiten</a:t>
            </a:r>
          </a:p>
          <a:p>
            <a:endParaRPr lang="de-DE" noProof="0" dirty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invGray">
          <a:xfrm>
            <a:off x="3706200" y="4868864"/>
            <a:ext cx="1731600" cy="14242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DEDE0-3E07-4627-AD96-C6063050C4D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7B63A4E-3FFF-48F8-94B0-0F11EF9D5E6A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F8C092-A49F-4DD6-8F20-B661BFC69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E0284-754D-4AA2-B034-1CF3529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86248A17-EADC-4B70-89DC-CD5776F8F4EA}"/>
              </a:ext>
            </a:extLst>
          </p:cNvPr>
          <p:cNvSpPr>
            <a:spLocks/>
          </p:cNvSpPr>
          <p:nvPr userDrawn="1"/>
        </p:nvSpPr>
        <p:spPr bwMode="gray">
          <a:xfrm>
            <a:off x="8487296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78966387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Petrol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23849" y="1412875"/>
            <a:ext cx="8496301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Diese Folie </a:t>
            </a:r>
            <a:br>
              <a:rPr lang="de-DE" noProof="0" dirty="0"/>
            </a:br>
            <a:r>
              <a:rPr lang="de-DE" noProof="0" dirty="0"/>
              <a:t>dient zur Trennung </a:t>
            </a:r>
            <a:br>
              <a:rPr lang="de-DE" noProof="0" dirty="0"/>
            </a:br>
            <a:r>
              <a:rPr lang="de-DE" noProof="0" dirty="0"/>
              <a:t>zweier Kapitel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2339975" y="5445001"/>
            <a:ext cx="4464050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Kapitel Nr. #</a:t>
            </a:r>
          </a:p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3706200" y="4868864"/>
            <a:ext cx="1731600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D31473-88F9-4CEE-AEF0-7B7AB8363EA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8DE5DC-032E-49AF-8261-6014FCAF67F7}" type="datetime1">
              <a:rPr lang="de-DE" noProof="0" smtClean="0"/>
              <a:t>21.10.2023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676F9B-52E6-466E-9EB1-5E81CDC23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FE0B6A-A753-45D4-9CE4-04A49176B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46136327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23850" y="1412875"/>
            <a:ext cx="8496300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Diese Folie </a:t>
            </a:r>
            <a:br>
              <a:rPr lang="de-DE" noProof="0" dirty="0"/>
            </a:br>
            <a:r>
              <a:rPr lang="de-DE" noProof="0" dirty="0"/>
              <a:t>dient zur Trennung </a:t>
            </a:r>
            <a:br>
              <a:rPr lang="de-DE" noProof="0" dirty="0"/>
            </a:br>
            <a:r>
              <a:rPr lang="de-DE" noProof="0" dirty="0"/>
              <a:t>zweier Kapitel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2339975" y="5445001"/>
            <a:ext cx="4464049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 dirty="0"/>
              <a:t>Kapitel Nr. #</a:t>
            </a:r>
          </a:p>
          <a:p>
            <a:pPr lvl="0"/>
            <a:r>
              <a:rPr lang="de-DE" noProof="0" dirty="0"/>
              <a:t>Mastertextformat bearbeiten</a:t>
            </a:r>
          </a:p>
          <a:p>
            <a:endParaRPr lang="de-DE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DEDE0-3E07-4627-AD96-C6063050C4D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606926D-44E3-4965-9A74-AA9D91357E98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F8C092-A49F-4DD6-8F20-B661BFC69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E0284-754D-4AA2-B034-1CF3529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9" name="Google Shape;192;p37">
            <a:extLst>
              <a:ext uri="{FF2B5EF4-FFF2-40B4-BE49-F238E27FC236}">
                <a16:creationId xmlns:a16="http://schemas.microsoft.com/office/drawing/2014/main" id="{6BEF86A6-4188-418C-9CCC-F9615322F4D4}"/>
              </a:ext>
            </a:extLst>
          </p:cNvPr>
          <p:cNvSpPr/>
          <p:nvPr userDrawn="1"/>
        </p:nvSpPr>
        <p:spPr bwMode="gray">
          <a:xfrm>
            <a:off x="3706200" y="4868864"/>
            <a:ext cx="1731600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de-DE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3697111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44448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71DDE5-237D-488D-8361-D82FE9E2FA41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AD4175C1-1125-4874-A9F5-38BD0062989A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E06A32-B2D9-41C6-BFF1-11EC8ABCC24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CBDD58-EB8B-45A7-A68A-501642F5562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</p:spTree>
    <p:extLst>
      <p:ext uri="{BB962C8B-B14F-4D97-AF65-F5344CB8AC3E}">
        <p14:creationId xmlns:p14="http://schemas.microsoft.com/office/powerpoint/2010/main" val="44109642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10095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10CC23-23F4-43A4-B221-175BB6262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23850" y="1411289"/>
            <a:ext cx="8496300" cy="5041901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71DDE5-237D-488D-8361-D82FE9E2FA41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BC899B8A-B81B-4933-B472-80FEE133A409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E06A32-B2D9-41C6-BFF1-11EC8ABCC24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CBDD58-EB8B-45A7-A68A-501642F5562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</p:spTree>
    <p:extLst>
      <p:ext uri="{BB962C8B-B14F-4D97-AF65-F5344CB8AC3E}">
        <p14:creationId xmlns:p14="http://schemas.microsoft.com/office/powerpoint/2010/main" val="201124948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80389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FA860A-0783-485F-9EA6-396743BDF5B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396B3238-39FA-49A6-A88B-ECBD282009EA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370CD-5645-4A0E-9F7D-68A2A121CDB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EBB456-7637-44EE-BC10-4EB314D3ADD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de-DE" noProof="0" smtClean="0"/>
              <a:pPr/>
              <a:t>‹#›</a:t>
            </a:fld>
            <a:endParaRPr lang="de-DE" b="1" noProof="0"/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DCABA094-C500-47C0-BACF-FF45F71D07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23850" y="1411289"/>
            <a:ext cx="4176713" cy="5041901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3C7CA0A3-BDD9-4786-8889-58A40E7C51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4643439" y="1411289"/>
            <a:ext cx="4176712" cy="5041901"/>
          </a:xfrm>
        </p:spPr>
        <p:txBody>
          <a:bodyPr rIns="14400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8262163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32C311-42A6-4141-B8B0-3ECECF59F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12191701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08" imgH="408" progId="TCLayout.ActiveDocument.1">
                  <p:embed/>
                </p:oleObj>
              </mc:Choice>
              <mc:Fallback>
                <p:oleObj name="think-cell Slide" r:id="rId3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32C311-42A6-4141-B8B0-3ECECF59F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A1953FA-A217-4290-B8B2-F20FA9B85E7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3850" y="0"/>
            <a:ext cx="8496300" cy="1123950"/>
          </a:xfrm>
          <a:prstGeom prst="rect">
            <a:avLst/>
          </a:prstGeom>
        </p:spPr>
        <p:txBody>
          <a:bodyPr vert="horz" lIns="0" tIns="216000" rIns="1440000" bIns="0" rtlCol="0" anchor="t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67ADB-5B8A-488F-9884-47CB17F2FFD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23850" y="1411289"/>
            <a:ext cx="6335712" cy="5041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37F7AE-BC98-407A-B37E-999E5E7CBE8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6453188"/>
            <a:ext cx="647588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AFB5A7E4-7B05-43DF-A0C1-4874C5A3F6C8}" type="datetime1">
              <a:rPr lang="de-DE" smtClean="0"/>
              <a:pPr/>
              <a:t>21.10.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7F4CA9-7229-4B54-884E-9BFBB3942C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339975" y="6453188"/>
            <a:ext cx="4464050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Commerzbank AG, Max Mustermann, GM-C Brand Management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5EDBD7-0293-448B-8ECC-9B648DDFE8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389144" y="6453188"/>
            <a:ext cx="431006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CAEFDB47-5D1C-45E7-8BD0-EF74349B00F7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D149B1C8-F312-46B9-8E33-2CE2471CEF50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 bwMode="gray">
          <a:xfrm>
            <a:off x="8486648" y="260260"/>
            <a:ext cx="333502" cy="289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946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4" r:id="rId2"/>
    <p:sldLayoutId id="2147483676" r:id="rId3"/>
    <p:sldLayoutId id="2147483677" r:id="rId4"/>
    <p:sldLayoutId id="2147483678" r:id="rId5"/>
    <p:sldLayoutId id="2147483717" r:id="rId6"/>
    <p:sldLayoutId id="2147483688" r:id="rId7"/>
    <p:sldLayoutId id="2147483659" r:id="rId8"/>
    <p:sldLayoutId id="2147483684" r:id="rId9"/>
    <p:sldLayoutId id="2147483685" r:id="rId10"/>
    <p:sldLayoutId id="2147483695" r:id="rId11"/>
    <p:sldLayoutId id="2147483686" r:id="rId12"/>
    <p:sldLayoutId id="2147483679" r:id="rId13"/>
    <p:sldLayoutId id="2147483681" r:id="rId14"/>
    <p:sldLayoutId id="2147483705" r:id="rId15"/>
    <p:sldLayoutId id="2147483706" r:id="rId16"/>
    <p:sldLayoutId id="2147483696" r:id="rId17"/>
    <p:sldLayoutId id="2147483697" r:id="rId18"/>
    <p:sldLayoutId id="2147483698" r:id="rId19"/>
    <p:sldLayoutId id="2147483699" r:id="rId20"/>
    <p:sldLayoutId id="2147483707" r:id="rId21"/>
    <p:sldLayoutId id="2147483701" r:id="rId22"/>
    <p:sldLayoutId id="2147483682" r:id="rId23"/>
    <p:sldLayoutId id="2147483708" r:id="rId24"/>
    <p:sldLayoutId id="2147483683" r:id="rId25"/>
    <p:sldLayoutId id="2147483693" r:id="rId26"/>
    <p:sldLayoutId id="2147483712" r:id="rId27"/>
    <p:sldLayoutId id="2147483711" r:id="rId28"/>
    <p:sldLayoutId id="2147483675" r:id="rId29"/>
    <p:sldLayoutId id="2147483716" r:id="rId30"/>
  </p:sldLayoutIdLst>
  <p:transition>
    <p:fade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363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+mj-lt"/>
        <a:buAutoNum type="alphaL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09" userDrawn="1">
          <p15:clr>
            <a:srgbClr val="000000"/>
          </p15:clr>
        </p15:guide>
        <p15:guide id="5" orient="horz" pos="889" userDrawn="1">
          <p15:clr>
            <a:srgbClr val="000000"/>
          </p15:clr>
        </p15:guide>
        <p15:guide id="21" orient="horz" pos="3067" userDrawn="1">
          <p15:clr>
            <a:srgbClr val="A4A3A4"/>
          </p15:clr>
        </p15:guide>
        <p15:guide id="23" orient="horz" pos="4065" userDrawn="1">
          <p15:clr>
            <a:srgbClr val="000000"/>
          </p15:clr>
        </p15:guide>
        <p15:guide id="26" pos="204" userDrawn="1">
          <p15:clr>
            <a:srgbClr val="000000"/>
          </p15:clr>
        </p15:guide>
        <p15:guide id="28" pos="2925" userDrawn="1">
          <p15:clr>
            <a:srgbClr val="A4A3A4"/>
          </p15:clr>
        </p15:guide>
        <p15:guide id="45" pos="5556" userDrawn="1">
          <p15:clr>
            <a:srgbClr val="000000"/>
          </p15:clr>
        </p15:guide>
        <p15:guide id="46" orient="horz" pos="2976" userDrawn="1">
          <p15:clr>
            <a:srgbClr val="A4A3A4"/>
          </p15:clr>
        </p15:guide>
        <p15:guide id="47" orient="horz" pos="2523" userDrawn="1">
          <p15:clr>
            <a:srgbClr val="A4A3A4"/>
          </p15:clr>
        </p15:guide>
        <p15:guide id="48" orient="horz" pos="2432" userDrawn="1">
          <p15:clr>
            <a:srgbClr val="A4A3A4"/>
          </p15:clr>
        </p15:guide>
        <p15:guide id="49" orient="horz" pos="1979" userDrawn="1">
          <p15:clr>
            <a:srgbClr val="A4A3A4"/>
          </p15:clr>
        </p15:guide>
        <p15:guide id="50" orient="horz" pos="1888" userDrawn="1">
          <p15:clr>
            <a:srgbClr val="A4A3A4"/>
          </p15:clr>
        </p15:guide>
        <p15:guide id="51" pos="2835" userDrawn="1">
          <p15:clr>
            <a:srgbClr val="A4A3A4"/>
          </p15:clr>
        </p15:guide>
        <p15:guide id="52" pos="2018" userDrawn="1">
          <p15:clr>
            <a:srgbClr val="A4A3A4"/>
          </p15:clr>
        </p15:guide>
        <p15:guide id="53" pos="1927" userDrawn="1">
          <p15:clr>
            <a:srgbClr val="A4A3A4"/>
          </p15:clr>
        </p15:guide>
        <p15:guide id="54" pos="1565" userDrawn="1">
          <p15:clr>
            <a:srgbClr val="A4A3A4"/>
          </p15:clr>
        </p15:guide>
        <p15:guide id="55" pos="1474" userDrawn="1">
          <p15:clr>
            <a:srgbClr val="A4A3A4"/>
          </p15:clr>
        </p15:guide>
        <p15:guide id="56" pos="3742" userDrawn="1">
          <p15:clr>
            <a:srgbClr val="A4A3A4"/>
          </p15:clr>
        </p15:guide>
        <p15:guide id="57" pos="3833" userDrawn="1">
          <p15:clr>
            <a:srgbClr val="A4A3A4"/>
          </p15:clr>
        </p15:guide>
        <p15:guide id="58" pos="4195" userDrawn="1">
          <p15:clr>
            <a:srgbClr val="A4A3A4"/>
          </p15:clr>
        </p15:guide>
        <p15:guide id="59" pos="428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4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0305B-1B3E-D5F6-8D3A-D321E4F71A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RBAN GAMIFIC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67D26E-2656-C42A-6413-8374CF1A592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y Midnight Talkers DBS Team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B86CC9-0B63-A756-D7B2-63D00003C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6926D-44E3-4965-9A74-AA9D91357E98}" type="datetime1">
              <a:rPr lang="de-DE" noProof="0" smtClean="0"/>
              <a:t>21.10.2023</a:t>
            </a:fld>
            <a:endParaRPr lang="de-DE" sz="800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424AFD-0C01-5A0B-DD36-CD603B17A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noProof="0"/>
              <a:t>Commerzbank AG, Max Mustermann, GM-C Brand Management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E68039-585C-1591-F126-D8EEC887E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EFDB47-5D1C-45E7-8BD0-EF74349B00F7}" type="slidenum">
              <a:rPr lang="de-DE" noProof="0" smtClean="0"/>
              <a:pPr/>
              <a:t>1</a:t>
            </a:fld>
            <a:endParaRPr lang="de-DE" b="1" noProof="0"/>
          </a:p>
        </p:txBody>
      </p:sp>
    </p:spTree>
    <p:extLst>
      <p:ext uri="{BB962C8B-B14F-4D97-AF65-F5344CB8AC3E}">
        <p14:creationId xmlns:p14="http://schemas.microsoft.com/office/powerpoint/2010/main" val="348699468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63" progId="TCLayout.ActiveDocument.1">
                  <p:embed/>
                </p:oleObj>
              </mc:Choice>
              <mc:Fallback>
                <p:oleObj name="think-cell Slide" r:id="rId4" imgW="353" imgH="36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B721148A-0979-4BD9-9A76-9BD2A035E8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-10674"/>
            <a:ext cx="8496300" cy="1123950"/>
          </a:xfrm>
        </p:spPr>
        <p:txBody>
          <a:bodyPr vert="horz"/>
          <a:lstStyle/>
          <a:p>
            <a:r>
              <a:rPr lang="de-DE" dirty="0"/>
              <a:t>                   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1C55106-77F5-489C-8F48-1FACA3C70A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EF9808-9A8C-4C1D-9EC8-2B301EACFAE9}" type="datetime1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1/10/2023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41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CC3ACC-A96A-4F9D-BF0D-982DEB87C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EFDB47-5D1C-45E7-8BD0-EF74349B00F7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0041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228766-E77E-C0A5-9DFE-856CFE5760E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620689"/>
            <a:ext cx="9144000" cy="5846172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                                 </a:t>
            </a:r>
            <a:r>
              <a:rPr lang="en-US" sz="3200" dirty="0"/>
              <a:t>Urban Harvesting </a:t>
            </a:r>
          </a:p>
          <a:p>
            <a:pPr marL="0" indent="0">
              <a:buNone/>
            </a:pPr>
            <a:endParaRPr lang="en-US" sz="3200" dirty="0"/>
          </a:p>
          <a:p>
            <a:r>
              <a:rPr lang="en-US" sz="1800" dirty="0">
                <a:solidFill>
                  <a:srgbClr val="20212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rban greening policies are important for revitalizing communities.</a:t>
            </a:r>
          </a:p>
          <a:p>
            <a:endParaRPr lang="en-US" sz="1800" dirty="0">
              <a:solidFill>
                <a:srgbClr val="202122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1800" dirty="0">
                <a:solidFill>
                  <a:srgbClr val="20212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educing financial burdens of healthcare, and increasing quality of life.</a:t>
            </a:r>
          </a:p>
          <a:p>
            <a:endParaRPr lang="en-US" sz="1800" dirty="0">
              <a:solidFill>
                <a:srgbClr val="202122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1800" dirty="0">
                <a:solidFill>
                  <a:srgbClr val="20212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ost policies focus on community benefits.</a:t>
            </a:r>
          </a:p>
          <a:p>
            <a:endParaRPr lang="en-US" sz="1800" dirty="0">
              <a:solidFill>
                <a:srgbClr val="202122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1800" dirty="0">
                <a:solidFill>
                  <a:srgbClr val="202122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R</a:t>
            </a:r>
            <a:r>
              <a:rPr lang="en-US" sz="1800" dirty="0">
                <a:solidFill>
                  <a:srgbClr val="20212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ducing negative effects of urban development such as surface run off.</a:t>
            </a:r>
          </a:p>
          <a:p>
            <a:endParaRPr lang="en-US" sz="1800" dirty="0">
              <a:solidFill>
                <a:srgbClr val="202122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US" sz="1800" dirty="0">
              <a:solidFill>
                <a:srgbClr val="202122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US" sz="3200" dirty="0">
              <a:solidFill>
                <a:srgbClr val="202122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3200" dirty="0"/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1A627082-1B23-4629-9172-EE65D8B1A48D}"/>
              </a:ext>
            </a:extLst>
          </p:cNvPr>
          <p:cNvSpPr txBox="1">
            <a:spLocks/>
          </p:cNvSpPr>
          <p:nvPr/>
        </p:nvSpPr>
        <p:spPr bwMode="gray">
          <a:xfrm>
            <a:off x="323279" y="5659762"/>
            <a:ext cx="8496871" cy="217510"/>
          </a:xfrm>
          <a:prstGeom prst="rect">
            <a:avLst/>
          </a:prstGeom>
        </p:spPr>
        <p:txBody>
          <a:bodyPr vert="horz" lIns="0" tIns="0" rIns="14400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E9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E9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41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Footer Placeholder 3">
            <a:extLst>
              <a:ext uri="{FF2B5EF4-FFF2-40B4-BE49-F238E27FC236}">
                <a16:creationId xmlns:a16="http://schemas.microsoft.com/office/drawing/2014/main" id="{D9F89C8C-D07C-4702-AB51-FFA9A5B946A6}"/>
              </a:ext>
            </a:extLst>
          </p:cNvPr>
          <p:cNvSpPr txBox="1">
            <a:spLocks/>
          </p:cNvSpPr>
          <p:nvPr/>
        </p:nvSpPr>
        <p:spPr bwMode="gray">
          <a:xfrm>
            <a:off x="2339975" y="6453188"/>
            <a:ext cx="4464050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898556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63" progId="TCLayout.ActiveDocument.1">
                  <p:embed/>
                </p:oleObj>
              </mc:Choice>
              <mc:Fallback>
                <p:oleObj name="think-cell Slide" r:id="rId3" imgW="353" imgH="36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B721148A-0979-4BD9-9A76-9BD2A035E8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 Benefits and Achievements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CC3ACC-A96A-4F9D-BF0D-982DEB87C08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EFDB47-5D1C-45E7-8BD0-EF74349B00F7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0041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Textplatzhalter 8">
            <a:extLst>
              <a:ext uri="{FF2B5EF4-FFF2-40B4-BE49-F238E27FC236}">
                <a16:creationId xmlns:a16="http://schemas.microsoft.com/office/drawing/2014/main" id="{2868FE79-DEA5-4E16-A1AC-04907F2C0D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43438" y="1411290"/>
            <a:ext cx="4176713" cy="217510"/>
          </a:xfrm>
        </p:spPr>
        <p:txBody>
          <a:bodyPr/>
          <a:lstStyle/>
          <a:p>
            <a:pPr lvl="6"/>
            <a:r>
              <a:rPr lang="de-DE" sz="1200" dirty="0"/>
              <a:t>Air Quality Index Q1 2023 – Q2 2023*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73" name="Textplatzhalter 8">
            <a:extLst>
              <a:ext uri="{FF2B5EF4-FFF2-40B4-BE49-F238E27FC236}">
                <a16:creationId xmlns:a16="http://schemas.microsoft.com/office/drawing/2014/main" id="{F0540DB8-A43C-4D1D-A5B6-63EA76BEF36F}"/>
              </a:ext>
            </a:extLst>
          </p:cNvPr>
          <p:cNvSpPr txBox="1">
            <a:spLocks/>
          </p:cNvSpPr>
          <p:nvPr/>
        </p:nvSpPr>
        <p:spPr bwMode="gray">
          <a:xfrm>
            <a:off x="4643438" y="3713508"/>
            <a:ext cx="4176713" cy="217510"/>
          </a:xfrm>
          <a:prstGeom prst="rect">
            <a:avLst/>
          </a:prstGeom>
        </p:spPr>
        <p:txBody>
          <a:bodyPr vert="horz" lIns="0" tIns="0" rIns="14400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6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200" dirty="0">
                <a:solidFill>
                  <a:srgbClr val="00414B"/>
                </a:solidFill>
                <a:latin typeface="Arial"/>
              </a:rPr>
              <a:t>                           Save Urbanisation 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41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Textplatzhalter 8">
            <a:extLst>
              <a:ext uri="{FF2B5EF4-FFF2-40B4-BE49-F238E27FC236}">
                <a16:creationId xmlns:a16="http://schemas.microsoft.com/office/drawing/2014/main" id="{1A627082-1B23-4629-9172-EE65D8B1A48D}"/>
              </a:ext>
            </a:extLst>
          </p:cNvPr>
          <p:cNvSpPr txBox="1">
            <a:spLocks/>
          </p:cNvSpPr>
          <p:nvPr/>
        </p:nvSpPr>
        <p:spPr bwMode="gray">
          <a:xfrm>
            <a:off x="323279" y="5553587"/>
            <a:ext cx="8496871" cy="938101"/>
          </a:xfrm>
          <a:prstGeom prst="rect">
            <a:avLst/>
          </a:prstGeom>
        </p:spPr>
        <p:txBody>
          <a:bodyPr vert="horz" lIns="0" tIns="0" rIns="14400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E9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  <p:grpSp>
        <p:nvGrpSpPr>
          <p:cNvPr id="75" name="Gruppieren 10">
            <a:extLst>
              <a:ext uri="{FF2B5EF4-FFF2-40B4-BE49-F238E27FC236}">
                <a16:creationId xmlns:a16="http://schemas.microsoft.com/office/drawing/2014/main" id="{B36EC8EB-AA00-40B1-A90B-3FB719673FA3}"/>
              </a:ext>
            </a:extLst>
          </p:cNvPr>
          <p:cNvGrpSpPr/>
          <p:nvPr/>
        </p:nvGrpSpPr>
        <p:grpSpPr>
          <a:xfrm>
            <a:off x="304434" y="4289604"/>
            <a:ext cx="4176713" cy="540000"/>
            <a:chOff x="323279" y="1411287"/>
            <a:chExt cx="4176713" cy="540000"/>
          </a:xfrm>
        </p:grpSpPr>
        <p:sp>
          <p:nvSpPr>
            <p:cNvPr id="76" name="Rectangle 7">
              <a:extLst>
                <a:ext uri="{FF2B5EF4-FFF2-40B4-BE49-F238E27FC236}">
                  <a16:creationId xmlns:a16="http://schemas.microsoft.com/office/drawing/2014/main" id="{3C8A48E5-75CC-4861-B629-08D3B88B72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992" y="1411287"/>
              <a:ext cx="3960000" cy="540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3175" algn="ctr">
              <a:noFill/>
              <a:miter lim="800000"/>
              <a:headEnd/>
              <a:tailEnd type="none" w="lg" len="med"/>
            </a:ln>
            <a:effectLst/>
          </p:spPr>
          <p:txBody>
            <a:bodyPr lIns="324000" tIns="46800" rIns="36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de-DE" alt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Impact on high Temperatur and </a:t>
              </a:r>
              <a:r>
                <a:rPr lang="de-DE" altLang="de-DE" sz="1200" dirty="0">
                  <a:latin typeface="Arial" pitchFamily="34" charset="0"/>
                </a:rPr>
                <a:t>A</a:t>
              </a:r>
              <a:r>
                <a:rPr kumimoji="0" lang="de-DE" altLang="de-DE" sz="12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ir</a:t>
              </a:r>
              <a:r>
                <a:rPr lang="de-DE" altLang="de-DE" sz="1200" dirty="0">
                  <a:latin typeface="Arial" pitchFamily="34" charset="0"/>
                </a:rPr>
                <a:t> </a:t>
              </a:r>
              <a:r>
                <a:rPr kumimoji="0" lang="de-DE" alt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Quality</a:t>
              </a:r>
            </a:p>
          </p:txBody>
        </p:sp>
        <p:sp>
          <p:nvSpPr>
            <p:cNvPr id="77" name="Ellipse 23">
              <a:extLst>
                <a:ext uri="{FF2B5EF4-FFF2-40B4-BE49-F238E27FC236}">
                  <a16:creationId xmlns:a16="http://schemas.microsoft.com/office/drawing/2014/main" id="{12E8F0DE-805D-4F21-A849-71BE9AE99095}"/>
                </a:ext>
              </a:extLst>
            </p:cNvPr>
            <p:cNvSpPr/>
            <p:nvPr/>
          </p:nvSpPr>
          <p:spPr bwMode="gray">
            <a:xfrm>
              <a:off x="323279" y="1503163"/>
              <a:ext cx="360040" cy="360040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Kreuz 31">
              <a:extLst>
                <a:ext uri="{FF2B5EF4-FFF2-40B4-BE49-F238E27FC236}">
                  <a16:creationId xmlns:a16="http://schemas.microsoft.com/office/drawing/2014/main" id="{A52EC86C-D6FA-4D04-9CD5-45687A1B4627}"/>
                </a:ext>
              </a:extLst>
            </p:cNvPr>
            <p:cNvSpPr/>
            <p:nvPr/>
          </p:nvSpPr>
          <p:spPr bwMode="gray">
            <a:xfrm>
              <a:off x="403204" y="1581192"/>
              <a:ext cx="200190" cy="200190"/>
            </a:xfrm>
            <a:prstGeom prst="plus">
              <a:avLst>
                <a:gd name="adj" fmla="val 4125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9" name="Gruppieren 7">
            <a:extLst>
              <a:ext uri="{FF2B5EF4-FFF2-40B4-BE49-F238E27FC236}">
                <a16:creationId xmlns:a16="http://schemas.microsoft.com/office/drawing/2014/main" id="{D6DA7DE2-4678-4C55-94E2-BF200C89950D}"/>
              </a:ext>
            </a:extLst>
          </p:cNvPr>
          <p:cNvGrpSpPr/>
          <p:nvPr/>
        </p:nvGrpSpPr>
        <p:grpSpPr>
          <a:xfrm>
            <a:off x="253825" y="3173186"/>
            <a:ext cx="4227322" cy="540000"/>
            <a:chOff x="306437" y="2091930"/>
            <a:chExt cx="4227322" cy="540000"/>
          </a:xfrm>
        </p:grpSpPr>
        <p:sp>
          <p:nvSpPr>
            <p:cNvPr id="80" name="Rectangle 7">
              <a:extLst>
                <a:ext uri="{FF2B5EF4-FFF2-40B4-BE49-F238E27FC236}">
                  <a16:creationId xmlns:a16="http://schemas.microsoft.com/office/drawing/2014/main" id="{8C268FAC-48D1-4684-8098-44490DA44A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759" y="2091930"/>
              <a:ext cx="3960000" cy="540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3175" algn="ctr">
              <a:noFill/>
              <a:miter lim="800000"/>
              <a:headEnd/>
              <a:tailEnd type="none" w="lg" len="med"/>
            </a:ln>
            <a:effectLst/>
          </p:spPr>
          <p:txBody>
            <a:bodyPr lIns="324000" tIns="46800" rIns="36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lang="de-DE" altLang="de-DE" sz="1200" dirty="0">
                  <a:latin typeface="Arial" pitchFamily="34" charset="0"/>
                </a:rPr>
                <a:t>Impact on Health </a:t>
              </a:r>
              <a:endParaRPr kumimoji="0" lang="de-DE" altLang="de-D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81" name="Ellipse 26">
              <a:extLst>
                <a:ext uri="{FF2B5EF4-FFF2-40B4-BE49-F238E27FC236}">
                  <a16:creationId xmlns:a16="http://schemas.microsoft.com/office/drawing/2014/main" id="{83A3B529-9DD0-4533-81E2-AB8DAC6E0D5D}"/>
                </a:ext>
              </a:extLst>
            </p:cNvPr>
            <p:cNvSpPr/>
            <p:nvPr/>
          </p:nvSpPr>
          <p:spPr bwMode="gray">
            <a:xfrm>
              <a:off x="306437" y="2188090"/>
              <a:ext cx="360040" cy="360040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Kreuz 32">
              <a:extLst>
                <a:ext uri="{FF2B5EF4-FFF2-40B4-BE49-F238E27FC236}">
                  <a16:creationId xmlns:a16="http://schemas.microsoft.com/office/drawing/2014/main" id="{2D3E326F-81D3-4C04-BE93-72DD4CC14B8D}"/>
                </a:ext>
              </a:extLst>
            </p:cNvPr>
            <p:cNvSpPr/>
            <p:nvPr/>
          </p:nvSpPr>
          <p:spPr bwMode="gray">
            <a:xfrm>
              <a:off x="403204" y="2276174"/>
              <a:ext cx="200190" cy="200190"/>
            </a:xfrm>
            <a:prstGeom prst="plus">
              <a:avLst>
                <a:gd name="adj" fmla="val 4125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3" name="Gruppieren 4">
            <a:extLst>
              <a:ext uri="{FF2B5EF4-FFF2-40B4-BE49-F238E27FC236}">
                <a16:creationId xmlns:a16="http://schemas.microsoft.com/office/drawing/2014/main" id="{342FDAA6-F0BC-4ADF-951B-9A2BC16C5C87}"/>
              </a:ext>
            </a:extLst>
          </p:cNvPr>
          <p:cNvGrpSpPr/>
          <p:nvPr/>
        </p:nvGrpSpPr>
        <p:grpSpPr>
          <a:xfrm>
            <a:off x="309811" y="2205306"/>
            <a:ext cx="4190181" cy="540000"/>
            <a:chOff x="309811" y="2794317"/>
            <a:chExt cx="4190181" cy="540000"/>
          </a:xfrm>
        </p:grpSpPr>
        <p:sp>
          <p:nvSpPr>
            <p:cNvPr id="84" name="Rectangle 7">
              <a:extLst>
                <a:ext uri="{FF2B5EF4-FFF2-40B4-BE49-F238E27FC236}">
                  <a16:creationId xmlns:a16="http://schemas.microsoft.com/office/drawing/2014/main" id="{EA461C43-C1DA-495B-B889-7AFCF10074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992" y="2794317"/>
              <a:ext cx="3960000" cy="540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3175" algn="ctr">
              <a:noFill/>
              <a:miter lim="800000"/>
              <a:headEnd/>
              <a:tailEnd type="none" w="lg" len="med"/>
            </a:ln>
            <a:effectLst/>
          </p:spPr>
          <p:txBody>
            <a:bodyPr lIns="324000" tIns="46800" rIns="36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de-DE" alt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Ecological</a:t>
              </a:r>
            </a:p>
          </p:txBody>
        </p:sp>
        <p:sp>
          <p:nvSpPr>
            <p:cNvPr id="85" name="Ellipse 27">
              <a:extLst>
                <a:ext uri="{FF2B5EF4-FFF2-40B4-BE49-F238E27FC236}">
                  <a16:creationId xmlns:a16="http://schemas.microsoft.com/office/drawing/2014/main" id="{DA14E929-1298-4C8D-ABB6-31155A8B468C}"/>
                </a:ext>
              </a:extLst>
            </p:cNvPr>
            <p:cNvSpPr/>
            <p:nvPr/>
          </p:nvSpPr>
          <p:spPr bwMode="gray">
            <a:xfrm>
              <a:off x="309811" y="2884297"/>
              <a:ext cx="360040" cy="360040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Kreuz 36">
              <a:extLst>
                <a:ext uri="{FF2B5EF4-FFF2-40B4-BE49-F238E27FC236}">
                  <a16:creationId xmlns:a16="http://schemas.microsoft.com/office/drawing/2014/main" id="{E0CD07B8-D953-4998-8E94-FBEEE5F033A3}"/>
                </a:ext>
              </a:extLst>
            </p:cNvPr>
            <p:cNvSpPr/>
            <p:nvPr/>
          </p:nvSpPr>
          <p:spPr bwMode="gray">
            <a:xfrm>
              <a:off x="386362" y="2970463"/>
              <a:ext cx="200190" cy="200190"/>
            </a:xfrm>
            <a:prstGeom prst="plus">
              <a:avLst>
                <a:gd name="adj" fmla="val 4125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7" name="Gruppieren 2">
            <a:extLst>
              <a:ext uri="{FF2B5EF4-FFF2-40B4-BE49-F238E27FC236}">
                <a16:creationId xmlns:a16="http://schemas.microsoft.com/office/drawing/2014/main" id="{B41417AF-CA04-40EC-896D-6E227AC5CA14}"/>
              </a:ext>
            </a:extLst>
          </p:cNvPr>
          <p:cNvGrpSpPr/>
          <p:nvPr/>
        </p:nvGrpSpPr>
        <p:grpSpPr>
          <a:xfrm>
            <a:off x="304434" y="1211158"/>
            <a:ext cx="4176713" cy="540000"/>
            <a:chOff x="323279" y="3485832"/>
            <a:chExt cx="4176713" cy="540000"/>
          </a:xfrm>
        </p:grpSpPr>
        <p:sp>
          <p:nvSpPr>
            <p:cNvPr id="88" name="Rectangle 7">
              <a:extLst>
                <a:ext uri="{FF2B5EF4-FFF2-40B4-BE49-F238E27FC236}">
                  <a16:creationId xmlns:a16="http://schemas.microsoft.com/office/drawing/2014/main" id="{EEDAA8D5-A748-4DB8-A0AD-12C79C882B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992" y="3485832"/>
              <a:ext cx="3960000" cy="540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3175" algn="ctr">
              <a:noFill/>
              <a:miter lim="800000"/>
              <a:headEnd/>
              <a:tailEnd type="none" w="lg" len="med"/>
            </a:ln>
            <a:effectLst/>
          </p:spPr>
          <p:txBody>
            <a:bodyPr lIns="324000" tIns="46800" rIns="36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de-DE" alt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Aesthetic</a:t>
              </a:r>
            </a:p>
          </p:txBody>
        </p:sp>
        <p:sp>
          <p:nvSpPr>
            <p:cNvPr id="89" name="Ellipse 28">
              <a:extLst>
                <a:ext uri="{FF2B5EF4-FFF2-40B4-BE49-F238E27FC236}">
                  <a16:creationId xmlns:a16="http://schemas.microsoft.com/office/drawing/2014/main" id="{FFEF3481-FBDB-4E65-9C15-3C927FE6808D}"/>
                </a:ext>
              </a:extLst>
            </p:cNvPr>
            <p:cNvSpPr/>
            <p:nvPr/>
          </p:nvSpPr>
          <p:spPr bwMode="gray">
            <a:xfrm>
              <a:off x="323279" y="3570043"/>
              <a:ext cx="360040" cy="360040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Kreuz 37">
              <a:extLst>
                <a:ext uri="{FF2B5EF4-FFF2-40B4-BE49-F238E27FC236}">
                  <a16:creationId xmlns:a16="http://schemas.microsoft.com/office/drawing/2014/main" id="{BC893B7E-A53A-4220-86EA-654004212DF8}"/>
                </a:ext>
              </a:extLst>
            </p:cNvPr>
            <p:cNvSpPr/>
            <p:nvPr/>
          </p:nvSpPr>
          <p:spPr bwMode="gray">
            <a:xfrm>
              <a:off x="406523" y="3646567"/>
              <a:ext cx="200190" cy="200190"/>
            </a:xfrm>
            <a:prstGeom prst="plus">
              <a:avLst>
                <a:gd name="adj" fmla="val 4125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1" name="Gruppieren 1">
            <a:extLst>
              <a:ext uri="{FF2B5EF4-FFF2-40B4-BE49-F238E27FC236}">
                <a16:creationId xmlns:a16="http://schemas.microsoft.com/office/drawing/2014/main" id="{DB9E5580-2883-4E58-9132-9E4C776F23D0}"/>
              </a:ext>
            </a:extLst>
          </p:cNvPr>
          <p:cNvGrpSpPr/>
          <p:nvPr/>
        </p:nvGrpSpPr>
        <p:grpSpPr>
          <a:xfrm>
            <a:off x="253825" y="5348104"/>
            <a:ext cx="4176713" cy="540000"/>
            <a:chOff x="323279" y="4868863"/>
            <a:chExt cx="4176713" cy="540000"/>
          </a:xfrm>
        </p:grpSpPr>
        <p:sp>
          <p:nvSpPr>
            <p:cNvPr id="92" name="Rectangle 7">
              <a:extLst>
                <a:ext uri="{FF2B5EF4-FFF2-40B4-BE49-F238E27FC236}">
                  <a16:creationId xmlns:a16="http://schemas.microsoft.com/office/drawing/2014/main" id="{686CE812-3A99-43D1-8AD3-11BF55A0AD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992" y="4868863"/>
              <a:ext cx="3960000" cy="540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3175" algn="ctr">
              <a:noFill/>
              <a:miter lim="800000"/>
              <a:headEnd/>
              <a:tailEnd type="none" w="lg" len="med"/>
            </a:ln>
            <a:effectLst/>
          </p:spPr>
          <p:txBody>
            <a:bodyPr lIns="324000" tIns="46800" rIns="36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de-DE" alt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 on Mental Health </a:t>
              </a:r>
            </a:p>
          </p:txBody>
        </p:sp>
        <p:sp>
          <p:nvSpPr>
            <p:cNvPr id="93" name="Ellipse 30">
              <a:extLst>
                <a:ext uri="{FF2B5EF4-FFF2-40B4-BE49-F238E27FC236}">
                  <a16:creationId xmlns:a16="http://schemas.microsoft.com/office/drawing/2014/main" id="{9BC4BE43-32DC-42FF-B852-D9075D1F8118}"/>
                </a:ext>
              </a:extLst>
            </p:cNvPr>
            <p:cNvSpPr/>
            <p:nvPr/>
          </p:nvSpPr>
          <p:spPr bwMode="gray">
            <a:xfrm>
              <a:off x="323279" y="4960125"/>
              <a:ext cx="360040" cy="360040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Kreuz 39">
              <a:extLst>
                <a:ext uri="{FF2B5EF4-FFF2-40B4-BE49-F238E27FC236}">
                  <a16:creationId xmlns:a16="http://schemas.microsoft.com/office/drawing/2014/main" id="{E4A7F9A4-20CE-4FED-A44C-5290BDE457AA}"/>
                </a:ext>
              </a:extLst>
            </p:cNvPr>
            <p:cNvSpPr/>
            <p:nvPr/>
          </p:nvSpPr>
          <p:spPr bwMode="gray">
            <a:xfrm>
              <a:off x="403204" y="5038768"/>
              <a:ext cx="200190" cy="200190"/>
            </a:xfrm>
            <a:prstGeom prst="plus">
              <a:avLst>
                <a:gd name="adj" fmla="val 4125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EBAB1CE9-CAD9-4F97-81AE-3D3DA5904D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920375"/>
              </p:ext>
            </p:extLst>
          </p:nvPr>
        </p:nvGraphicFramePr>
        <p:xfrm>
          <a:off x="4644007" y="1988840"/>
          <a:ext cx="4190182" cy="1262528"/>
        </p:xfrm>
        <a:graphic>
          <a:graphicData uri="http://schemas.openxmlformats.org/drawingml/2006/table">
            <a:tbl>
              <a:tblPr/>
              <a:tblGrid>
                <a:gridCol w="634750">
                  <a:extLst>
                    <a:ext uri="{9D8B030D-6E8A-4147-A177-3AD203B41FA5}">
                      <a16:colId xmlns:a16="http://schemas.microsoft.com/office/drawing/2014/main" val="583237919"/>
                    </a:ext>
                  </a:extLst>
                </a:gridCol>
                <a:gridCol w="1669507">
                  <a:extLst>
                    <a:ext uri="{9D8B030D-6E8A-4147-A177-3AD203B41FA5}">
                      <a16:colId xmlns:a16="http://schemas.microsoft.com/office/drawing/2014/main" val="3649925432"/>
                    </a:ext>
                  </a:extLst>
                </a:gridCol>
                <a:gridCol w="1885925">
                  <a:extLst>
                    <a:ext uri="{9D8B030D-6E8A-4147-A177-3AD203B41FA5}">
                      <a16:colId xmlns:a16="http://schemas.microsoft.com/office/drawing/2014/main" val="3245057699"/>
                    </a:ext>
                  </a:extLst>
                </a:gridCol>
              </a:tblGrid>
              <a:tr h="359720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.                         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9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ountri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9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verage Air Quality Index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9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7870057"/>
                  </a:ext>
                </a:extLst>
              </a:tr>
              <a:tr h="225702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zech </a:t>
                      </a:r>
                      <a:r>
                        <a:rPr lang="de-DE" sz="1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epublic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229382"/>
                  </a:ext>
                </a:extLst>
              </a:tr>
              <a:tr h="225702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taly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9717707"/>
                  </a:ext>
                </a:extLst>
              </a:tr>
              <a:tr h="225702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S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2072653"/>
                  </a:ext>
                </a:extLst>
              </a:tr>
              <a:tr h="225702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urkey                                           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7659063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27C4C4FF-4AA3-BC82-74C5-EE3487212C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4048" y="3990918"/>
            <a:ext cx="3035300" cy="2289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62694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977A76-BC06-DCAC-BE02-1969CA43E8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  <a:p>
            <a:pPr indent="0">
              <a:buNone/>
            </a:pPr>
            <a:endParaRPr lang="en-US" dirty="0"/>
          </a:p>
          <a:p>
            <a:pPr indent="0">
              <a:buNone/>
            </a:pPr>
            <a:endParaRPr lang="en-US" dirty="0">
              <a:solidFill>
                <a:srgbClr val="00414B"/>
              </a:solidFill>
            </a:endParaRPr>
          </a:p>
          <a:p>
            <a:pPr indent="0">
              <a:buNone/>
            </a:pPr>
            <a:r>
              <a:rPr lang="en-US" dirty="0">
                <a:solidFill>
                  <a:srgbClr val="00414B"/>
                </a:solidFill>
              </a:rPr>
              <a:t>THANK YOU !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135E30-4402-B857-6639-DCC95580D2A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27DE8FA-9238-4DC0-A84B-75DA6749B356}" type="datetime1">
              <a:rPr lang="de-DE" noProof="0" smtClean="0"/>
              <a:t>21.10.2023</a:t>
            </a:fld>
            <a:endParaRPr lang="de-DE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5C9111-C1BC-E679-92F8-86D745FBD99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Commerzbank AG, Max Mustermann, GM-C Brand Management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AC746F-00E7-C03A-823B-4606860110D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AEFDB47-5D1C-45E7-8BD0-EF74349B00F7}" type="slidenum">
              <a:rPr lang="de-DE" noProof="0" smtClean="0"/>
              <a:pPr/>
              <a:t>4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77215526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77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PRING_RESOURCE_PATHS_HASH_PRESENTER" val="97792891af8a1ee64e19ef22ad94b072b8fae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mmerzbank PowerPoint Template 2021">
  <a:themeElements>
    <a:clrScheme name="Commerzbank">
      <a:dk1>
        <a:srgbClr val="00414B"/>
      </a:dk1>
      <a:lt1>
        <a:sysClr val="window" lastClr="FFFFFF"/>
      </a:lt1>
      <a:dk2>
        <a:srgbClr val="B4C8CD"/>
      </a:dk2>
      <a:lt2>
        <a:srgbClr val="4B787D"/>
      </a:lt2>
      <a:accent1>
        <a:srgbClr val="00414B"/>
      </a:accent1>
      <a:accent2>
        <a:srgbClr val="FFE900"/>
      </a:accent2>
      <a:accent3>
        <a:srgbClr val="0072CE"/>
      </a:accent3>
      <a:accent4>
        <a:srgbClr val="FF6A14"/>
      </a:accent4>
      <a:accent5>
        <a:srgbClr val="00C8FF"/>
      </a:accent5>
      <a:accent6>
        <a:srgbClr val="FFC800"/>
      </a:accent6>
      <a:hlink>
        <a:srgbClr val="00414B"/>
      </a:hlink>
      <a:folHlink>
        <a:srgbClr val="00414B"/>
      </a:folHlink>
    </a:clrScheme>
    <a:fontScheme name="Commerz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lIns="72000" tIns="72000" rIns="72000" bIns="72000" rtlCol="0" anchor="ctr"/>
      <a:lstStyle>
        <a:defPPr algn="ctr">
          <a:lnSpc>
            <a:spcPct val="110000"/>
          </a:lnSpc>
          <a:spcBef>
            <a:spcPts val="600"/>
          </a:spcBef>
          <a:defRPr sz="12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>
        <a:noAutofit/>
      </a:bodyPr>
      <a:lstStyle>
        <a:defPPr marL="180000" indent="-180000" algn="l">
          <a:lnSpc>
            <a:spcPct val="110000"/>
          </a:lnSpc>
          <a:spcBef>
            <a:spcPts val="600"/>
          </a:spcBef>
          <a:buClr>
            <a:schemeClr val="accent2"/>
          </a:buClr>
          <a:buSzPct val="110000"/>
          <a:buFont typeface="Arial" panose="020B0604020202020204" pitchFamily="34" charset="0"/>
          <a:buChar char="●"/>
          <a:defRPr sz="1200" smtClean="0">
            <a:solidFill>
              <a:schemeClr val="accent1"/>
            </a:solidFill>
          </a:defRPr>
        </a:defPPr>
      </a:lstStyle>
    </a:txDef>
  </a:objectDefaults>
  <a:extraClrSchemeLst/>
  <a:custClrLst>
    <a:custClr name="Petrol Gradation 01">
      <a:srgbClr val="00414B"/>
    </a:custClr>
    <a:custClr name="Petrol Gradation 02">
      <a:srgbClr val="385A5E"/>
    </a:custClr>
    <a:custClr name="Petrol Gradation 03">
      <a:srgbClr val="4B787D"/>
    </a:custClr>
    <a:custClr name="Petrol Gradation 04">
      <a:srgbClr val="8BB5B9"/>
    </a:custClr>
    <a:custClr name="Petrol Gradation 05">
      <a:srgbClr val="7A9EA7"/>
    </a:custClr>
    <a:custClr name="Petrol Gradation 06">
      <a:srgbClr val="B4C8CD"/>
    </a:custClr>
    <a:custClr name="Petrol Gradation 06">
      <a:srgbClr val="E1E9EB"/>
    </a:custClr>
    <a:custClr name="Negative Red">
      <a:srgbClr val="EF3340"/>
    </a:custClr>
    <a:custClr name="Positive Green">
      <a:srgbClr val="00B140"/>
    </a:custClr>
  </a:custClrLst>
  <a:extLst>
    <a:ext uri="{05A4C25C-085E-4340-85A3-A5531E510DB2}">
      <thm15:themeFamily xmlns:thm15="http://schemas.microsoft.com/office/thememl/2012/main" name="Commerzbank_Template_4-3_05_EXP_DE" id="{5C0ACE86-AAD2-475C-B644-070A6CABC91E}" vid="{593414D1-6A9D-4E5F-BE99-C76D06F1F892}"/>
    </a:ext>
  </a:extLst>
</a:theme>
</file>

<file path=ppt/theme/theme2.xml><?xml version="1.0" encoding="utf-8"?>
<a:theme xmlns:a="http://schemas.openxmlformats.org/drawingml/2006/main" name="Office">
  <a:themeElements>
    <a:clrScheme name="Commerzbank">
      <a:dk1>
        <a:srgbClr val="00414B"/>
      </a:dk1>
      <a:lt1>
        <a:sysClr val="window" lastClr="FFFFFF"/>
      </a:lt1>
      <a:dk2>
        <a:srgbClr val="B4C8CD"/>
      </a:dk2>
      <a:lt2>
        <a:srgbClr val="4B787D"/>
      </a:lt2>
      <a:accent1>
        <a:srgbClr val="00414B"/>
      </a:accent1>
      <a:accent2>
        <a:srgbClr val="FFE900"/>
      </a:accent2>
      <a:accent3>
        <a:srgbClr val="0072CE"/>
      </a:accent3>
      <a:accent4>
        <a:srgbClr val="FF6A14"/>
      </a:accent4>
      <a:accent5>
        <a:srgbClr val="00C8FF"/>
      </a:accent5>
      <a:accent6>
        <a:srgbClr val="FFC800"/>
      </a:accent6>
      <a:hlink>
        <a:srgbClr val="00414B"/>
      </a:hlink>
      <a:folHlink>
        <a:srgbClr val="00414B"/>
      </a:folHlink>
    </a:clrScheme>
    <a:fontScheme name="Commerz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lIns="72000" tIns="72000" rIns="72000" bIns="72000" rtlCol="0" anchor="ctr"/>
      <a:lstStyle>
        <a:defPPr algn="ctr">
          <a:lnSpc>
            <a:spcPct val="110000"/>
          </a:lnSpc>
          <a:spcBef>
            <a:spcPts val="600"/>
          </a:spcBef>
          <a:defRPr sz="12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>
        <a:noAutofit/>
      </a:bodyPr>
      <a:lstStyle>
        <a:defPPr marL="180000" indent="-180000" algn="l">
          <a:lnSpc>
            <a:spcPct val="110000"/>
          </a:lnSpc>
          <a:spcBef>
            <a:spcPts val="600"/>
          </a:spcBef>
          <a:buClr>
            <a:schemeClr val="accent2"/>
          </a:buClr>
          <a:buSzPct val="110000"/>
          <a:buFont typeface="Arial" panose="020B0604020202020204" pitchFamily="34" charset="0"/>
          <a:buChar char="●"/>
          <a:defRPr sz="1200" dirty="0" err="1" smtClean="0">
            <a:solidFill>
              <a:schemeClr val="accent1"/>
            </a:solidFill>
          </a:defRPr>
        </a:defPPr>
      </a:lstStyle>
    </a:txDef>
  </a:objectDefaults>
  <a:extraClrSchemeLst/>
  <a:custClrLst>
    <a:custClr name="Petrol Gradation 01">
      <a:srgbClr val="00414B"/>
    </a:custClr>
    <a:custClr name="Petrol Gradation 02">
      <a:srgbClr val="385A5E"/>
    </a:custClr>
    <a:custClr name="Petrol Gradation 03">
      <a:srgbClr val="4B787D"/>
    </a:custClr>
    <a:custClr name="Petrol Gradation 04">
      <a:srgbClr val="8BB5B9"/>
    </a:custClr>
    <a:custClr name="Petrol Gradation 05">
      <a:srgbClr val="7A9EA7"/>
    </a:custClr>
    <a:custClr name="Petrol Gradation 06">
      <a:srgbClr val="B4C8CD"/>
    </a:custClr>
    <a:custClr name="Petrol Gradation 06">
      <a:srgbClr val="E1E9EB"/>
    </a:custClr>
    <a:custClr name="Negative Red">
      <a:srgbClr val="EF3340"/>
    </a:custClr>
    <a:custClr name="Positive Green">
      <a:srgbClr val="00B14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Commerzbank">
      <a:dk1>
        <a:srgbClr val="00414B"/>
      </a:dk1>
      <a:lt1>
        <a:sysClr val="window" lastClr="FFFFFF"/>
      </a:lt1>
      <a:dk2>
        <a:srgbClr val="B4C8CD"/>
      </a:dk2>
      <a:lt2>
        <a:srgbClr val="4B787D"/>
      </a:lt2>
      <a:accent1>
        <a:srgbClr val="00414B"/>
      </a:accent1>
      <a:accent2>
        <a:srgbClr val="FFE900"/>
      </a:accent2>
      <a:accent3>
        <a:srgbClr val="0072CE"/>
      </a:accent3>
      <a:accent4>
        <a:srgbClr val="FF6A14"/>
      </a:accent4>
      <a:accent5>
        <a:srgbClr val="00C8FF"/>
      </a:accent5>
      <a:accent6>
        <a:srgbClr val="FFC800"/>
      </a:accent6>
      <a:hlink>
        <a:srgbClr val="00414B"/>
      </a:hlink>
      <a:folHlink>
        <a:srgbClr val="00414B"/>
      </a:folHlink>
    </a:clrScheme>
    <a:fontScheme name="Commerz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lIns="72000" tIns="72000" rIns="72000" bIns="72000" rtlCol="0" anchor="ctr"/>
      <a:lstStyle>
        <a:defPPr algn="ctr">
          <a:lnSpc>
            <a:spcPct val="110000"/>
          </a:lnSpc>
          <a:spcBef>
            <a:spcPts val="600"/>
          </a:spcBef>
          <a:defRPr sz="12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>
        <a:noAutofit/>
      </a:bodyPr>
      <a:lstStyle>
        <a:defPPr marL="180000" indent="-180000" algn="l">
          <a:lnSpc>
            <a:spcPct val="110000"/>
          </a:lnSpc>
          <a:spcBef>
            <a:spcPts val="600"/>
          </a:spcBef>
          <a:buClr>
            <a:schemeClr val="accent2"/>
          </a:buClr>
          <a:buSzPct val="110000"/>
          <a:buFont typeface="Arial" panose="020B0604020202020204" pitchFamily="34" charset="0"/>
          <a:buChar char="●"/>
          <a:defRPr sz="1200" dirty="0" err="1" smtClean="0">
            <a:solidFill>
              <a:schemeClr val="accent1"/>
            </a:solidFill>
          </a:defRPr>
        </a:defPPr>
      </a:lstStyle>
    </a:txDef>
  </a:objectDefaults>
  <a:extraClrSchemeLst/>
  <a:custClrLst>
    <a:custClr name="Petrol Gradation 01">
      <a:srgbClr val="00414B"/>
    </a:custClr>
    <a:custClr name="Petrol Gradation 02">
      <a:srgbClr val="385A5E"/>
    </a:custClr>
    <a:custClr name="Petrol Gradation 03">
      <a:srgbClr val="4B787D"/>
    </a:custClr>
    <a:custClr name="Petrol Gradation 04">
      <a:srgbClr val="8BB5B9"/>
    </a:custClr>
    <a:custClr name="Petrol Gradation 05">
      <a:srgbClr val="7A9EA7"/>
    </a:custClr>
    <a:custClr name="Petrol Gradation 06">
      <a:srgbClr val="B4C8CD"/>
    </a:custClr>
    <a:custClr name="Petrol Gradation 06">
      <a:srgbClr val="E1E9EB"/>
    </a:custClr>
    <a:custClr name="Negative Red">
      <a:srgbClr val="EF3340"/>
    </a:custClr>
    <a:custClr name="Positive Green">
      <a:srgbClr val="00B14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C46C1BBDA89664CBC9CFFA52E097338" ma:contentTypeVersion="12" ma:contentTypeDescription="Ein neues Dokument erstellen." ma:contentTypeScope="" ma:versionID="181a0336ed76ba2c1290dbb1e815c1e8">
  <xsd:schema xmlns:xsd="http://www.w3.org/2001/XMLSchema" xmlns:xs="http://www.w3.org/2001/XMLSchema" xmlns:p="http://schemas.microsoft.com/office/2006/metadata/properties" xmlns:ns2="6383705d-f662-443d-b225-c02f1f09d3e6" xmlns:ns3="921d8b57-8398-4c9a-970e-e06d7d9c25f1" targetNamespace="http://schemas.microsoft.com/office/2006/metadata/properties" ma:root="true" ma:fieldsID="28f047b9b1fc48006305719a1dec908b" ns2:_="" ns3:_="">
    <xsd:import namespace="6383705d-f662-443d-b225-c02f1f09d3e6"/>
    <xsd:import namespace="921d8b57-8398-4c9a-970e-e06d7d9c25f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83705d-f662-443d-b225-c02f1f09d3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1d8b57-8398-4c9a-970e-e06d7d9c25f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8B25191-86F4-4DD6-B519-FAAE77FA11F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83705d-f662-443d-b225-c02f1f09d3e6"/>
    <ds:schemaRef ds:uri="921d8b57-8398-4c9a-970e-e06d7d9c25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ED400AB-D7B1-4F30-8429-D742D8F5A3E2}">
  <ds:schemaRefs>
    <ds:schemaRef ds:uri="6383705d-f662-443d-b225-c02f1f09d3e6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921d8b57-8398-4c9a-970e-e06d7d9c25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863E607-BB9C-4461-951D-DBDF70BCD5A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B_PPT_Master_4_3_DE</Template>
  <TotalTime>0</TotalTime>
  <Words>135</Words>
  <Application>Microsoft Office PowerPoint</Application>
  <PresentationFormat>On-screen Show (4:3)</PresentationFormat>
  <Paragraphs>54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Calibri</vt:lpstr>
      <vt:lpstr>Commerzbank PowerPoint Template 2021</vt:lpstr>
      <vt:lpstr>think-cell Slide</vt:lpstr>
      <vt:lpstr>URBAN GAMIFICATION</vt:lpstr>
      <vt:lpstr>                    </vt:lpstr>
      <vt:lpstr> Benefits and Achievements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xtebenen  (Headline in Arial fett 32pt)</dc:title>
  <dc:creator>Becher, Daniel</dc:creator>
  <cp:lastModifiedBy>Nikhare, Ashishkumar</cp:lastModifiedBy>
  <cp:revision>137</cp:revision>
  <cp:lastPrinted>2021-01-27T13:02:36Z</cp:lastPrinted>
  <dcterms:created xsi:type="dcterms:W3CDTF">2021-04-21T07:08:59Z</dcterms:created>
  <dcterms:modified xsi:type="dcterms:W3CDTF">2023-10-21T13:1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46C1BBDA89664CBC9CFFA52E097338</vt:lpwstr>
  </property>
  <property fmtid="{D5CDD505-2E9C-101B-9397-08002B2CF9AE}" pid="3" name="MSIP_Label_fe4bc684-102f-461d-a6dc-b1e58752f380_Enabled">
    <vt:lpwstr>true</vt:lpwstr>
  </property>
  <property fmtid="{D5CDD505-2E9C-101B-9397-08002B2CF9AE}" pid="4" name="MSIP_Label_fe4bc684-102f-461d-a6dc-b1e58752f380_SetDate">
    <vt:lpwstr>2023-01-06T17:17:53Z</vt:lpwstr>
  </property>
  <property fmtid="{D5CDD505-2E9C-101B-9397-08002B2CF9AE}" pid="5" name="MSIP_Label_fe4bc684-102f-461d-a6dc-b1e58752f380_Method">
    <vt:lpwstr>Standard</vt:lpwstr>
  </property>
  <property fmtid="{D5CDD505-2E9C-101B-9397-08002B2CF9AE}" pid="6" name="MSIP_Label_fe4bc684-102f-461d-a6dc-b1e58752f380_Name">
    <vt:lpwstr>For internal use only</vt:lpwstr>
  </property>
  <property fmtid="{D5CDD505-2E9C-101B-9397-08002B2CF9AE}" pid="7" name="MSIP_Label_fe4bc684-102f-461d-a6dc-b1e58752f380_SiteId">
    <vt:lpwstr>2d75a51b-29e5-45d5-a5c5-5aa979cb6a28</vt:lpwstr>
  </property>
  <property fmtid="{D5CDD505-2E9C-101B-9397-08002B2CF9AE}" pid="8" name="MSIP_Label_fe4bc684-102f-461d-a6dc-b1e58752f380_ActionId">
    <vt:lpwstr>eda59c19-6d59-4910-864b-a515cd11c1ff</vt:lpwstr>
  </property>
  <property fmtid="{D5CDD505-2E9C-101B-9397-08002B2CF9AE}" pid="9" name="MSIP_Label_fe4bc684-102f-461d-a6dc-b1e58752f380_ContentBits">
    <vt:lpwstr>0</vt:lpwstr>
  </property>
</Properties>
</file>